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4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3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76" r:id="rId4"/>
    <p:sldMasterId id="2147483695" r:id="rId5"/>
    <p:sldMasterId id="2147483707" r:id="rId6"/>
    <p:sldMasterId id="2147483712" r:id="rId7"/>
    <p:sldMasterId id="2147483789" r:id="rId8"/>
  </p:sldMasterIdLst>
  <p:notesMasterIdLst>
    <p:notesMasterId r:id="rId19"/>
  </p:notesMasterIdLst>
  <p:handoutMasterIdLst>
    <p:handoutMasterId r:id="rId20"/>
  </p:handoutMasterIdLst>
  <p:sldIdLst>
    <p:sldId id="276" r:id="rId9"/>
    <p:sldId id="2147326976" r:id="rId10"/>
    <p:sldId id="2147327018" r:id="rId11"/>
    <p:sldId id="2147327019" r:id="rId12"/>
    <p:sldId id="2147327020" r:id="rId13"/>
    <p:sldId id="2147327021" r:id="rId14"/>
    <p:sldId id="2147327022" r:id="rId15"/>
    <p:sldId id="2147327023" r:id="rId16"/>
    <p:sldId id="2147327025" r:id="rId17"/>
    <p:sldId id="2147327017" r:id="rId18"/>
  </p:sldIdLst>
  <p:sldSz cx="11949113" cy="6721475"/>
  <p:notesSz cx="9220200" cy="69342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 userDrawn="1">
          <p15:clr>
            <a:srgbClr val="A4A3A4"/>
          </p15:clr>
        </p15:guide>
        <p15:guide id="4" orient="horz" pos="3761" userDrawn="1">
          <p15:clr>
            <a:srgbClr val="A4A3A4"/>
          </p15:clr>
        </p15:guide>
        <p15:guide id="5" orient="horz" pos="926" userDrawn="1">
          <p15:clr>
            <a:srgbClr val="A4A3A4"/>
          </p15:clr>
        </p15:guide>
        <p15:guide id="6" pos="372" userDrawn="1">
          <p15:clr>
            <a:srgbClr val="A4A3A4"/>
          </p15:clr>
        </p15:guide>
        <p15:guide id="7" pos="7220" userDrawn="1">
          <p15:clr>
            <a:srgbClr val="A4A3A4"/>
          </p15:clr>
        </p15:guide>
        <p15:guide id="8" orient="horz" pos="3975" userDrawn="1">
          <p15:clr>
            <a:srgbClr val="A4A3A4"/>
          </p15:clr>
        </p15:guide>
        <p15:guide id="9" orient="horz" pos="690" userDrawn="1">
          <p15:clr>
            <a:srgbClr val="A4A3A4"/>
          </p15:clr>
        </p15:guide>
        <p15:guide id="11" pos="308" userDrawn="1">
          <p15:clr>
            <a:srgbClr val="A4A3A4"/>
          </p15:clr>
        </p15:guide>
        <p15:guide id="12" pos="7124" userDrawn="1">
          <p15:clr>
            <a:srgbClr val="A4A3A4"/>
          </p15:clr>
        </p15:guide>
        <p15:guide id="13" pos="10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12" userDrawn="1">
          <p15:clr>
            <a:srgbClr val="A4A3A4"/>
          </p15:clr>
        </p15:guide>
        <p15:guide id="2" pos="2920" userDrawn="1">
          <p15:clr>
            <a:srgbClr val="A4A3A4"/>
          </p15:clr>
        </p15:guide>
        <p15:guide id="3" orient="horz" pos="2267" userDrawn="1">
          <p15:clr>
            <a:srgbClr val="A4A3A4"/>
          </p15:clr>
        </p15:guide>
        <p15:guide id="4" pos="3041" userDrawn="1">
          <p15:clr>
            <a:srgbClr val="A4A3A4"/>
          </p15:clr>
        </p15:guide>
        <p15:guide id="5" orient="horz" pos="2408" userDrawn="1">
          <p15:clr>
            <a:srgbClr val="A4A3A4"/>
          </p15:clr>
        </p15:guide>
        <p15:guide id="6" orient="horz" pos="2264" userDrawn="1">
          <p15:clr>
            <a:srgbClr val="A4A3A4"/>
          </p15:clr>
        </p15:guide>
        <p15:guide id="7" pos="2913" userDrawn="1">
          <p15:clr>
            <a:srgbClr val="A4A3A4"/>
          </p15:clr>
        </p15:guide>
        <p15:guide id="8" pos="3034" userDrawn="1">
          <p15:clr>
            <a:srgbClr val="A4A3A4"/>
          </p15:clr>
        </p15:guide>
        <p15:guide id="9" orient="horz" pos="2491" userDrawn="1">
          <p15:clr>
            <a:srgbClr val="A4A3A4"/>
          </p15:clr>
        </p15:guide>
        <p15:guide id="10" orient="horz" pos="2342" userDrawn="1">
          <p15:clr>
            <a:srgbClr val="A4A3A4"/>
          </p15:clr>
        </p15:guide>
        <p15:guide id="11" orient="horz" pos="2487" userDrawn="1">
          <p15:clr>
            <a:srgbClr val="A4A3A4"/>
          </p15:clr>
        </p15:guide>
        <p15:guide id="12" orient="horz" pos="2337" userDrawn="1">
          <p15:clr>
            <a:srgbClr val="A4A3A4"/>
          </p15:clr>
        </p15:guide>
        <p15:guide id="13" pos="3045" userDrawn="1">
          <p15:clr>
            <a:srgbClr val="A4A3A4"/>
          </p15:clr>
        </p15:guide>
        <p15:guide id="14" pos="3173" userDrawn="1">
          <p15:clr>
            <a:srgbClr val="A4A3A4"/>
          </p15:clr>
        </p15:guide>
        <p15:guide id="15" pos="3038" userDrawn="1">
          <p15:clr>
            <a:srgbClr val="A4A3A4"/>
          </p15:clr>
        </p15:guide>
        <p15:guide id="16" pos="3166" userDrawn="1">
          <p15:clr>
            <a:srgbClr val="A4A3A4"/>
          </p15:clr>
        </p15:guide>
        <p15:guide id="17" orient="horz" pos="2416" userDrawn="1">
          <p15:clr>
            <a:srgbClr val="A4A3A4"/>
          </p15:clr>
        </p15:guide>
        <p15:guide id="18" orient="horz" pos="2271" userDrawn="1">
          <p15:clr>
            <a:srgbClr val="A4A3A4"/>
          </p15:clr>
        </p15:guide>
        <p15:guide id="19" orient="horz" pos="2495" userDrawn="1">
          <p15:clr>
            <a:srgbClr val="A4A3A4"/>
          </p15:clr>
        </p15:guide>
        <p15:guide id="20" orient="horz" pos="2346" userDrawn="1">
          <p15:clr>
            <a:srgbClr val="A4A3A4"/>
          </p15:clr>
        </p15:guide>
        <p15:guide id="21" pos="2927" userDrawn="1">
          <p15:clr>
            <a:srgbClr val="A4A3A4"/>
          </p15:clr>
        </p15:guide>
        <p15:guide id="22" pos="3048" userDrawn="1">
          <p15:clr>
            <a:srgbClr val="A4A3A4"/>
          </p15:clr>
        </p15:guide>
        <p15:guide id="23" pos="3054" userDrawn="1">
          <p15:clr>
            <a:srgbClr val="A4A3A4"/>
          </p15:clr>
        </p15:guide>
        <p15:guide id="24" pos="3179" userDrawn="1">
          <p15:clr>
            <a:srgbClr val="A4A3A4"/>
          </p15:clr>
        </p15:guide>
        <p15:guide id="25" orient="horz" pos="2335" userDrawn="1">
          <p15:clr>
            <a:srgbClr val="A4A3A4"/>
          </p15:clr>
        </p15:guide>
        <p15:guide id="26" orient="horz" pos="2195" userDrawn="1">
          <p15:clr>
            <a:srgbClr val="A4A3A4"/>
          </p15:clr>
        </p15:guide>
        <p15:guide id="27" orient="horz" pos="2331" userDrawn="1">
          <p15:clr>
            <a:srgbClr val="A4A3A4"/>
          </p15:clr>
        </p15:guide>
        <p15:guide id="28" orient="horz" pos="2192" userDrawn="1">
          <p15:clr>
            <a:srgbClr val="A4A3A4"/>
          </p15:clr>
        </p15:guide>
        <p15:guide id="29" orient="horz" pos="2339" userDrawn="1">
          <p15:clr>
            <a:srgbClr val="A4A3A4"/>
          </p15:clr>
        </p15:guide>
        <p15:guide id="30" orient="horz" pos="2199" userDrawn="1">
          <p15:clr>
            <a:srgbClr val="A4A3A4"/>
          </p15:clr>
        </p15:guide>
        <p15:guide id="31" orient="horz" pos="2415" userDrawn="1">
          <p15:clr>
            <a:srgbClr val="A4A3A4"/>
          </p15:clr>
        </p15:guide>
        <p15:guide id="32" pos="2796" userDrawn="1">
          <p15:clr>
            <a:srgbClr val="A4A3A4"/>
          </p15:clr>
        </p15:guide>
        <p15:guide id="33" pos="2915" userDrawn="1">
          <p15:clr>
            <a:srgbClr val="A4A3A4"/>
          </p15:clr>
        </p15:guide>
        <p15:guide id="34" pos="2790" userDrawn="1">
          <p15:clr>
            <a:srgbClr val="A4A3A4"/>
          </p15:clr>
        </p15:guide>
        <p15:guide id="35" pos="2907" userDrawn="1">
          <p15:clr>
            <a:srgbClr val="A4A3A4"/>
          </p15:clr>
        </p15:guide>
        <p15:guide id="36" pos="2919" userDrawn="1">
          <p15:clr>
            <a:srgbClr val="A4A3A4"/>
          </p15:clr>
        </p15:guide>
        <p15:guide id="37" pos="2911" userDrawn="1">
          <p15:clr>
            <a:srgbClr val="A4A3A4"/>
          </p15:clr>
        </p15:guide>
        <p15:guide id="38" pos="3036" userDrawn="1">
          <p15:clr>
            <a:srgbClr val="A4A3A4"/>
          </p15:clr>
        </p15:guide>
        <p15:guide id="39" pos="2804" userDrawn="1">
          <p15:clr>
            <a:srgbClr val="A4A3A4"/>
          </p15:clr>
        </p15:guide>
        <p15:guide id="40" pos="2921" userDrawn="1">
          <p15:clr>
            <a:srgbClr val="A4A3A4"/>
          </p15:clr>
        </p15:guide>
        <p15:guide id="41" pos="3046" userDrawn="1">
          <p15:clr>
            <a:srgbClr val="A4A3A4"/>
          </p15:clr>
        </p15:guide>
        <p15:guide id="42" orient="horz" pos="2270" userDrawn="1">
          <p15:clr>
            <a:srgbClr val="A4A3A4"/>
          </p15:clr>
        </p15:guide>
        <p15:guide id="43" orient="horz" pos="2411" userDrawn="1">
          <p15:clr>
            <a:srgbClr val="A4A3A4"/>
          </p15:clr>
        </p15:guide>
        <p15:guide id="45" orient="horz" pos="2494" userDrawn="1">
          <p15:clr>
            <a:srgbClr val="A4A3A4"/>
          </p15:clr>
        </p15:guide>
        <p15:guide id="46" orient="horz" pos="2345" userDrawn="1">
          <p15:clr>
            <a:srgbClr val="A4A3A4"/>
          </p15:clr>
        </p15:guide>
        <p15:guide id="47" orient="horz" pos="2490" userDrawn="1">
          <p15:clr>
            <a:srgbClr val="A4A3A4"/>
          </p15:clr>
        </p15:guide>
        <p15:guide id="48" orient="horz" pos="2341" userDrawn="1">
          <p15:clr>
            <a:srgbClr val="A4A3A4"/>
          </p15:clr>
        </p15:guide>
        <p15:guide id="49" orient="horz" pos="2419" userDrawn="1">
          <p15:clr>
            <a:srgbClr val="A4A3A4"/>
          </p15:clr>
        </p15:guide>
        <p15:guide id="50" orient="horz" pos="2274" userDrawn="1">
          <p15:clr>
            <a:srgbClr val="A4A3A4"/>
          </p15:clr>
        </p15:guide>
        <p15:guide id="51" orient="horz" pos="2498" userDrawn="1">
          <p15:clr>
            <a:srgbClr val="A4A3A4"/>
          </p15:clr>
        </p15:guide>
        <p15:guide id="52" orient="horz" pos="2349" userDrawn="1">
          <p15:clr>
            <a:srgbClr val="A4A3A4"/>
          </p15:clr>
        </p15:guide>
        <p15:guide id="53" orient="horz" pos="2338" userDrawn="1">
          <p15:clr>
            <a:srgbClr val="A4A3A4"/>
          </p15:clr>
        </p15:guide>
        <p15:guide id="54" orient="horz" pos="2198" userDrawn="1">
          <p15:clr>
            <a:srgbClr val="A4A3A4"/>
          </p15:clr>
        </p15:guide>
        <p15:guide id="55" orient="horz" pos="2334" userDrawn="1">
          <p15:clr>
            <a:srgbClr val="A4A3A4"/>
          </p15:clr>
        </p15:guide>
        <p15:guide id="57" orient="horz" pos="2343" userDrawn="1">
          <p15:clr>
            <a:srgbClr val="A4A3A4"/>
          </p15:clr>
        </p15:guide>
        <p15:guide id="58" orient="horz" pos="2202" userDrawn="1">
          <p15:clr>
            <a:srgbClr val="A4A3A4"/>
          </p15:clr>
        </p15:guide>
        <p15:guide id="59" pos="2896" userDrawn="1">
          <p15:clr>
            <a:srgbClr val="A4A3A4"/>
          </p15:clr>
        </p15:guide>
        <p15:guide id="60" pos="3017" userDrawn="1">
          <p15:clr>
            <a:srgbClr val="A4A3A4"/>
          </p15:clr>
        </p15:guide>
        <p15:guide id="61" pos="2889" userDrawn="1">
          <p15:clr>
            <a:srgbClr val="A4A3A4"/>
          </p15:clr>
        </p15:guide>
        <p15:guide id="62" pos="3010" userDrawn="1">
          <p15:clr>
            <a:srgbClr val="A4A3A4"/>
          </p15:clr>
        </p15:guide>
        <p15:guide id="63" pos="3020" userDrawn="1">
          <p15:clr>
            <a:srgbClr val="A4A3A4"/>
          </p15:clr>
        </p15:guide>
        <p15:guide id="64" pos="3149" userDrawn="1">
          <p15:clr>
            <a:srgbClr val="A4A3A4"/>
          </p15:clr>
        </p15:guide>
        <p15:guide id="65" pos="3014" userDrawn="1">
          <p15:clr>
            <a:srgbClr val="A4A3A4"/>
          </p15:clr>
        </p15:guide>
        <p15:guide id="66" pos="3142" userDrawn="1">
          <p15:clr>
            <a:srgbClr val="A4A3A4"/>
          </p15:clr>
        </p15:guide>
        <p15:guide id="67" pos="2903" userDrawn="1">
          <p15:clr>
            <a:srgbClr val="A4A3A4"/>
          </p15:clr>
        </p15:guide>
        <p15:guide id="68" pos="3022" userDrawn="1">
          <p15:clr>
            <a:srgbClr val="A4A3A4"/>
          </p15:clr>
        </p15:guide>
        <p15:guide id="69" pos="3029" userDrawn="1">
          <p15:clr>
            <a:srgbClr val="A4A3A4"/>
          </p15:clr>
        </p15:guide>
        <p15:guide id="70" pos="3155" userDrawn="1">
          <p15:clr>
            <a:srgbClr val="A4A3A4"/>
          </p15:clr>
        </p15:guide>
        <p15:guide id="71" pos="2775" userDrawn="1">
          <p15:clr>
            <a:srgbClr val="A4A3A4"/>
          </p15:clr>
        </p15:guide>
        <p15:guide id="72" pos="2891" userDrawn="1">
          <p15:clr>
            <a:srgbClr val="A4A3A4"/>
          </p15:clr>
        </p15:guide>
        <p15:guide id="73" pos="2766" userDrawn="1">
          <p15:clr>
            <a:srgbClr val="A4A3A4"/>
          </p15:clr>
        </p15:guide>
        <p15:guide id="74" pos="2883" userDrawn="1">
          <p15:clr>
            <a:srgbClr val="A4A3A4"/>
          </p15:clr>
        </p15:guide>
        <p15:guide id="75" pos="2895" userDrawn="1">
          <p15:clr>
            <a:srgbClr val="A4A3A4"/>
          </p15:clr>
        </p15:guide>
        <p15:guide id="76" pos="2888" userDrawn="1">
          <p15:clr>
            <a:srgbClr val="A4A3A4"/>
          </p15:clr>
        </p15:guide>
        <p15:guide id="77" pos="3012" userDrawn="1">
          <p15:clr>
            <a:srgbClr val="A4A3A4"/>
          </p15:clr>
        </p15:guide>
        <p15:guide id="78" pos="2782" userDrawn="1">
          <p15:clr>
            <a:srgbClr val="A4A3A4"/>
          </p15:clr>
        </p15:guide>
        <p15:guide id="79" pos="2897" userDrawn="1">
          <p15:clr>
            <a:srgbClr val="A4A3A4"/>
          </p15:clr>
        </p15:guide>
        <p15:guide id="80" pos="3021" userDrawn="1">
          <p15:clr>
            <a:srgbClr val="A4A3A4"/>
          </p15:clr>
        </p15:guide>
        <p15:guide id="81" orient="horz" pos="2407" userDrawn="1">
          <p15:clr>
            <a:srgbClr val="A4A3A4"/>
          </p15:clr>
        </p15:guide>
        <p15:guide id="82" orient="horz" pos="2263" userDrawn="1">
          <p15:clr>
            <a:srgbClr val="A4A3A4"/>
          </p15:clr>
        </p15:guide>
        <p15:guide id="83" orient="horz" pos="2486" userDrawn="1">
          <p15:clr>
            <a:srgbClr val="A4A3A4"/>
          </p15:clr>
        </p15:guide>
        <p15:guide id="85" orient="horz" pos="2191" userDrawn="1">
          <p15:clr>
            <a:srgbClr val="A4A3A4"/>
          </p15:clr>
        </p15:guide>
        <p15:guide id="86" orient="horz" pos="2414" userDrawn="1">
          <p15:clr>
            <a:srgbClr val="A4A3A4"/>
          </p15:clr>
        </p15:guide>
        <p15:guide id="88" orient="horz" pos="2410" userDrawn="1">
          <p15:clr>
            <a:srgbClr val="A4A3A4"/>
          </p15:clr>
        </p15:guide>
        <p15:guide id="89" orient="horz" pos="2266" userDrawn="1">
          <p15:clr>
            <a:srgbClr val="A4A3A4"/>
          </p15:clr>
        </p15:guide>
        <p15:guide id="90" orient="horz" pos="2493" userDrawn="1">
          <p15:clr>
            <a:srgbClr val="A4A3A4"/>
          </p15:clr>
        </p15:guide>
        <p15:guide id="91" orient="horz" pos="2344" userDrawn="1">
          <p15:clr>
            <a:srgbClr val="A4A3A4"/>
          </p15:clr>
        </p15:guide>
        <p15:guide id="92" orient="horz" pos="2489" userDrawn="1">
          <p15:clr>
            <a:srgbClr val="A4A3A4"/>
          </p15:clr>
        </p15:guide>
        <p15:guide id="93" orient="horz" pos="2340" userDrawn="1">
          <p15:clr>
            <a:srgbClr val="A4A3A4"/>
          </p15:clr>
        </p15:guide>
        <p15:guide id="94" orient="horz" pos="2418" userDrawn="1">
          <p15:clr>
            <a:srgbClr val="A4A3A4"/>
          </p15:clr>
        </p15:guide>
        <p15:guide id="95" orient="horz" pos="2273" userDrawn="1">
          <p15:clr>
            <a:srgbClr val="A4A3A4"/>
          </p15:clr>
        </p15:guide>
        <p15:guide id="96" orient="horz" pos="2497" userDrawn="1">
          <p15:clr>
            <a:srgbClr val="A4A3A4"/>
          </p15:clr>
        </p15:guide>
        <p15:guide id="97" orient="horz" pos="2348" userDrawn="1">
          <p15:clr>
            <a:srgbClr val="A4A3A4"/>
          </p15:clr>
        </p15:guide>
        <p15:guide id="99" orient="horz" pos="2194" userDrawn="1">
          <p15:clr>
            <a:srgbClr val="A4A3A4"/>
          </p15:clr>
        </p15:guide>
        <p15:guide id="100" orient="horz" pos="2201" userDrawn="1">
          <p15:clr>
            <a:srgbClr val="A4A3A4"/>
          </p15:clr>
        </p15:guide>
        <p15:guide id="101" pos="2947" userDrawn="1">
          <p15:clr>
            <a:srgbClr val="A4A3A4"/>
          </p15:clr>
        </p15:guide>
        <p15:guide id="102" pos="3069" userDrawn="1">
          <p15:clr>
            <a:srgbClr val="A4A3A4"/>
          </p15:clr>
        </p15:guide>
        <p15:guide id="103" pos="2940" userDrawn="1">
          <p15:clr>
            <a:srgbClr val="A4A3A4"/>
          </p15:clr>
        </p15:guide>
        <p15:guide id="104" pos="3062" userDrawn="1">
          <p15:clr>
            <a:srgbClr val="A4A3A4"/>
          </p15:clr>
        </p15:guide>
        <p15:guide id="105" pos="3073" userDrawn="1">
          <p15:clr>
            <a:srgbClr val="A4A3A4"/>
          </p15:clr>
        </p15:guide>
        <p15:guide id="106" pos="3202" userDrawn="1">
          <p15:clr>
            <a:srgbClr val="A4A3A4"/>
          </p15:clr>
        </p15:guide>
        <p15:guide id="107" pos="3066" userDrawn="1">
          <p15:clr>
            <a:srgbClr val="A4A3A4"/>
          </p15:clr>
        </p15:guide>
        <p15:guide id="108" pos="3195" userDrawn="1">
          <p15:clr>
            <a:srgbClr val="A4A3A4"/>
          </p15:clr>
        </p15:guide>
        <p15:guide id="109" pos="2953" userDrawn="1">
          <p15:clr>
            <a:srgbClr val="A4A3A4"/>
          </p15:clr>
        </p15:guide>
        <p15:guide id="110" pos="3076" userDrawn="1">
          <p15:clr>
            <a:srgbClr val="A4A3A4"/>
          </p15:clr>
        </p15:guide>
        <p15:guide id="111" pos="3082" userDrawn="1">
          <p15:clr>
            <a:srgbClr val="A4A3A4"/>
          </p15:clr>
        </p15:guide>
        <p15:guide id="112" pos="3208" userDrawn="1">
          <p15:clr>
            <a:srgbClr val="A4A3A4"/>
          </p15:clr>
        </p15:guide>
        <p15:guide id="113" pos="2823" userDrawn="1">
          <p15:clr>
            <a:srgbClr val="A4A3A4"/>
          </p15:clr>
        </p15:guide>
        <p15:guide id="114" pos="2943" userDrawn="1">
          <p15:clr>
            <a:srgbClr val="A4A3A4"/>
          </p15:clr>
        </p15:guide>
        <p15:guide id="115" pos="2816" userDrawn="1">
          <p15:clr>
            <a:srgbClr val="A4A3A4"/>
          </p15:clr>
        </p15:guide>
        <p15:guide id="116" pos="2935" userDrawn="1">
          <p15:clr>
            <a:srgbClr val="A4A3A4"/>
          </p15:clr>
        </p15:guide>
        <p15:guide id="117" pos="2945" userDrawn="1">
          <p15:clr>
            <a:srgbClr val="A4A3A4"/>
          </p15:clr>
        </p15:guide>
        <p15:guide id="118" pos="2939" userDrawn="1">
          <p15:clr>
            <a:srgbClr val="A4A3A4"/>
          </p15:clr>
        </p15:guide>
        <p15:guide id="119" pos="3064" userDrawn="1">
          <p15:clr>
            <a:srgbClr val="A4A3A4"/>
          </p15:clr>
        </p15:guide>
        <p15:guide id="120" pos="2831" userDrawn="1">
          <p15:clr>
            <a:srgbClr val="A4A3A4"/>
          </p15:clr>
        </p15:guide>
        <p15:guide id="121" pos="2948" userDrawn="1">
          <p15:clr>
            <a:srgbClr val="A4A3A4"/>
          </p15:clr>
        </p15:guide>
        <p15:guide id="122" pos="2924" userDrawn="1">
          <p15:clr>
            <a:srgbClr val="A4A3A4"/>
          </p15:clr>
        </p15:guide>
        <p15:guide id="123" pos="2917" userDrawn="1">
          <p15:clr>
            <a:srgbClr val="A4A3A4"/>
          </p15:clr>
        </p15:guide>
        <p15:guide id="124" pos="3049" userDrawn="1">
          <p15:clr>
            <a:srgbClr val="A4A3A4"/>
          </p15:clr>
        </p15:guide>
        <p15:guide id="125" pos="3177" userDrawn="1">
          <p15:clr>
            <a:srgbClr val="A4A3A4"/>
          </p15:clr>
        </p15:guide>
        <p15:guide id="126" pos="3042" userDrawn="1">
          <p15:clr>
            <a:srgbClr val="A4A3A4"/>
          </p15:clr>
        </p15:guide>
        <p15:guide id="127" pos="3170" userDrawn="1">
          <p15:clr>
            <a:srgbClr val="A4A3A4"/>
          </p15:clr>
        </p15:guide>
        <p15:guide id="128" pos="2931" userDrawn="1">
          <p15:clr>
            <a:srgbClr val="A4A3A4"/>
          </p15:clr>
        </p15:guide>
        <p15:guide id="129" pos="3052" userDrawn="1">
          <p15:clr>
            <a:srgbClr val="A4A3A4"/>
          </p15:clr>
        </p15:guide>
        <p15:guide id="130" pos="3058" userDrawn="1">
          <p15:clr>
            <a:srgbClr val="A4A3A4"/>
          </p15:clr>
        </p15:guide>
        <p15:guide id="131" pos="3183" userDrawn="1">
          <p15:clr>
            <a:srgbClr val="A4A3A4"/>
          </p15:clr>
        </p15:guide>
        <p15:guide id="132" pos="2802" userDrawn="1">
          <p15:clr>
            <a:srgbClr val="A4A3A4"/>
          </p15:clr>
        </p15:guide>
        <p15:guide id="133" pos="2791" userDrawn="1">
          <p15:clr>
            <a:srgbClr val="A4A3A4"/>
          </p15:clr>
        </p15:guide>
        <p15:guide id="134" pos="2923" userDrawn="1">
          <p15:clr>
            <a:srgbClr val="A4A3A4"/>
          </p15:clr>
        </p15:guide>
        <p15:guide id="135" pos="2916" userDrawn="1">
          <p15:clr>
            <a:srgbClr val="A4A3A4"/>
          </p15:clr>
        </p15:guide>
        <p15:guide id="136" pos="3040" userDrawn="1">
          <p15:clr>
            <a:srgbClr val="A4A3A4"/>
          </p15:clr>
        </p15:guide>
        <p15:guide id="137" pos="2808" userDrawn="1">
          <p15:clr>
            <a:srgbClr val="A4A3A4"/>
          </p15:clr>
        </p15:guide>
        <p15:guide id="138" pos="2925" userDrawn="1">
          <p15:clr>
            <a:srgbClr val="A4A3A4"/>
          </p15:clr>
        </p15:guide>
        <p15:guide id="139" pos="3050" userDrawn="1">
          <p15:clr>
            <a:srgbClr val="A4A3A4"/>
          </p15:clr>
        </p15:guide>
        <p15:guide id="140" orient="horz" pos="2394" userDrawn="1">
          <p15:clr>
            <a:srgbClr val="A4A3A4"/>
          </p15:clr>
        </p15:guide>
        <p15:guide id="141" orient="horz" pos="2250" userDrawn="1">
          <p15:clr>
            <a:srgbClr val="A4A3A4"/>
          </p15:clr>
        </p15:guide>
        <p15:guide id="142" orient="horz" pos="2390" userDrawn="1">
          <p15:clr>
            <a:srgbClr val="A4A3A4"/>
          </p15:clr>
        </p15:guide>
        <p15:guide id="143" orient="horz" pos="2246" userDrawn="1">
          <p15:clr>
            <a:srgbClr val="A4A3A4"/>
          </p15:clr>
        </p15:guide>
        <p15:guide id="144" orient="horz" pos="2472" userDrawn="1">
          <p15:clr>
            <a:srgbClr val="A4A3A4"/>
          </p15:clr>
        </p15:guide>
        <p15:guide id="145" orient="horz" pos="2324" userDrawn="1">
          <p15:clr>
            <a:srgbClr val="A4A3A4"/>
          </p15:clr>
        </p15:guide>
        <p15:guide id="146" orient="horz" pos="2468" userDrawn="1">
          <p15:clr>
            <a:srgbClr val="A4A3A4"/>
          </p15:clr>
        </p15:guide>
        <p15:guide id="147" orient="horz" pos="2319" userDrawn="1">
          <p15:clr>
            <a:srgbClr val="A4A3A4"/>
          </p15:clr>
        </p15:guide>
        <p15:guide id="148" orient="horz" pos="2398" userDrawn="1">
          <p15:clr>
            <a:srgbClr val="A4A3A4"/>
          </p15:clr>
        </p15:guide>
        <p15:guide id="149" orient="horz" pos="2254" userDrawn="1">
          <p15:clr>
            <a:srgbClr val="A4A3A4"/>
          </p15:clr>
        </p15:guide>
        <p15:guide id="150" orient="horz" pos="2476" userDrawn="1">
          <p15:clr>
            <a:srgbClr val="A4A3A4"/>
          </p15:clr>
        </p15:guide>
        <p15:guide id="151" orient="horz" pos="2328" userDrawn="1">
          <p15:clr>
            <a:srgbClr val="A4A3A4"/>
          </p15:clr>
        </p15:guide>
        <p15:guide id="152" orient="horz" pos="2318" userDrawn="1">
          <p15:clr>
            <a:srgbClr val="A4A3A4"/>
          </p15:clr>
        </p15:guide>
        <p15:guide id="153" orient="horz" pos="2179" userDrawn="1">
          <p15:clr>
            <a:srgbClr val="A4A3A4"/>
          </p15:clr>
        </p15:guide>
        <p15:guide id="154" orient="horz" pos="2314" userDrawn="1">
          <p15:clr>
            <a:srgbClr val="A4A3A4"/>
          </p15:clr>
        </p15:guide>
        <p15:guide id="155" orient="horz" pos="2175" userDrawn="1">
          <p15:clr>
            <a:srgbClr val="A4A3A4"/>
          </p15:clr>
        </p15:guide>
        <p15:guide id="156" orient="horz" pos="2322" userDrawn="1">
          <p15:clr>
            <a:srgbClr val="A4A3A4"/>
          </p15:clr>
        </p15:guide>
        <p15:guide id="157" orient="horz" pos="2182" userDrawn="1">
          <p15:clr>
            <a:srgbClr val="A4A3A4"/>
          </p15:clr>
        </p15:guide>
        <p15:guide id="158" orient="horz" pos="2397" userDrawn="1">
          <p15:clr>
            <a:srgbClr val="A4A3A4"/>
          </p15:clr>
        </p15:guide>
        <p15:guide id="159" orient="horz" pos="2253" userDrawn="1">
          <p15:clr>
            <a:srgbClr val="A4A3A4"/>
          </p15:clr>
        </p15:guide>
        <p15:guide id="160" orient="horz" pos="2393" userDrawn="1">
          <p15:clr>
            <a:srgbClr val="A4A3A4"/>
          </p15:clr>
        </p15:guide>
        <p15:guide id="161" orient="horz" pos="2249" userDrawn="1">
          <p15:clr>
            <a:srgbClr val="A4A3A4"/>
          </p15:clr>
        </p15:guide>
        <p15:guide id="162" orient="horz" pos="2475" userDrawn="1">
          <p15:clr>
            <a:srgbClr val="A4A3A4"/>
          </p15:clr>
        </p15:guide>
        <p15:guide id="163" orient="horz" pos="2327" userDrawn="1">
          <p15:clr>
            <a:srgbClr val="A4A3A4"/>
          </p15:clr>
        </p15:guide>
        <p15:guide id="164" orient="horz" pos="2471" userDrawn="1">
          <p15:clr>
            <a:srgbClr val="A4A3A4"/>
          </p15:clr>
        </p15:guide>
        <p15:guide id="165" orient="horz" pos="2323" userDrawn="1">
          <p15:clr>
            <a:srgbClr val="A4A3A4"/>
          </p15:clr>
        </p15:guide>
        <p15:guide id="166" orient="horz" pos="2401" userDrawn="1">
          <p15:clr>
            <a:srgbClr val="A4A3A4"/>
          </p15:clr>
        </p15:guide>
        <p15:guide id="167" orient="horz" pos="2257" userDrawn="1">
          <p15:clr>
            <a:srgbClr val="A4A3A4"/>
          </p15:clr>
        </p15:guide>
        <p15:guide id="168" orient="horz" pos="2480" userDrawn="1">
          <p15:clr>
            <a:srgbClr val="A4A3A4"/>
          </p15:clr>
        </p15:guide>
        <p15:guide id="170" orient="horz" pos="2320" userDrawn="1">
          <p15:clr>
            <a:srgbClr val="A4A3A4"/>
          </p15:clr>
        </p15:guide>
        <p15:guide id="172" orient="horz" pos="2317" userDrawn="1">
          <p15:clr>
            <a:srgbClr val="A4A3A4"/>
          </p15:clr>
        </p15:guide>
        <p15:guide id="173" orient="horz" pos="2178" userDrawn="1">
          <p15:clr>
            <a:srgbClr val="A4A3A4"/>
          </p15:clr>
        </p15:guide>
        <p15:guide id="174" orient="horz" pos="2325" userDrawn="1">
          <p15:clr>
            <a:srgbClr val="A4A3A4"/>
          </p15:clr>
        </p15:guide>
        <p15:guide id="175" orient="horz" pos="2186" userDrawn="1">
          <p15:clr>
            <a:srgbClr val="A4A3A4"/>
          </p15:clr>
        </p15:guide>
        <p15:guide id="176" orient="horz" pos="2389" userDrawn="1">
          <p15:clr>
            <a:srgbClr val="A4A3A4"/>
          </p15:clr>
        </p15:guide>
        <p15:guide id="180" orient="horz" pos="2174" userDrawn="1">
          <p15:clr>
            <a:srgbClr val="A4A3A4"/>
          </p15:clr>
        </p15:guide>
        <p15:guide id="181" orient="horz" pos="2396" userDrawn="1">
          <p15:clr>
            <a:srgbClr val="A4A3A4"/>
          </p15:clr>
        </p15:guide>
        <p15:guide id="182" orient="horz" pos="2252" userDrawn="1">
          <p15:clr>
            <a:srgbClr val="A4A3A4"/>
          </p15:clr>
        </p15:guide>
        <p15:guide id="183" orient="horz" pos="2392" userDrawn="1">
          <p15:clr>
            <a:srgbClr val="A4A3A4"/>
          </p15:clr>
        </p15:guide>
        <p15:guide id="185" orient="horz" pos="2474" userDrawn="1">
          <p15:clr>
            <a:srgbClr val="A4A3A4"/>
          </p15:clr>
        </p15:guide>
        <p15:guide id="186" orient="horz" pos="2326" userDrawn="1">
          <p15:clr>
            <a:srgbClr val="A4A3A4"/>
          </p15:clr>
        </p15:guide>
        <p15:guide id="190" orient="horz" pos="2256" userDrawn="1">
          <p15:clr>
            <a:srgbClr val="A4A3A4"/>
          </p15:clr>
        </p15:guide>
        <p15:guide id="191" orient="horz" pos="2479" userDrawn="1">
          <p15:clr>
            <a:srgbClr val="A4A3A4"/>
          </p15:clr>
        </p15:guide>
        <p15:guide id="192" orient="horz" pos="2330" userDrawn="1">
          <p15:clr>
            <a:srgbClr val="A4A3A4"/>
          </p15:clr>
        </p15:guide>
        <p15:guide id="193" orient="horz" pos="2181" userDrawn="1">
          <p15:clr>
            <a:srgbClr val="A4A3A4"/>
          </p15:clr>
        </p15:guide>
        <p15:guide id="194" orient="horz" pos="2177" userDrawn="1">
          <p15:clr>
            <a:srgbClr val="A4A3A4"/>
          </p15:clr>
        </p15:guide>
        <p15:guide id="196" pos="2900" userDrawn="1">
          <p15:clr>
            <a:srgbClr val="A4A3A4"/>
          </p15:clr>
        </p15:guide>
        <p15:guide id="197" pos="2893" userDrawn="1">
          <p15:clr>
            <a:srgbClr val="A4A3A4"/>
          </p15:clr>
        </p15:guide>
        <p15:guide id="198" pos="3013" userDrawn="1">
          <p15:clr>
            <a:srgbClr val="A4A3A4"/>
          </p15:clr>
        </p15:guide>
        <p15:guide id="199" pos="3026" userDrawn="1">
          <p15:clr>
            <a:srgbClr val="A4A3A4"/>
          </p15:clr>
        </p15:guide>
        <p15:guide id="200" pos="3153" userDrawn="1">
          <p15:clr>
            <a:srgbClr val="A4A3A4"/>
          </p15:clr>
        </p15:guide>
        <p15:guide id="201" pos="3146" userDrawn="1">
          <p15:clr>
            <a:srgbClr val="A4A3A4"/>
          </p15:clr>
        </p15:guide>
        <p15:guide id="202" pos="3159" userDrawn="1">
          <p15:clr>
            <a:srgbClr val="A4A3A4"/>
          </p15:clr>
        </p15:guide>
        <p15:guide id="203" pos="2779" userDrawn="1">
          <p15:clr>
            <a:srgbClr val="A4A3A4"/>
          </p15:clr>
        </p15:guide>
        <p15:guide id="204" pos="2770" userDrawn="1">
          <p15:clr>
            <a:srgbClr val="A4A3A4"/>
          </p15:clr>
        </p15:guide>
        <p15:guide id="205" pos="2899" userDrawn="1">
          <p15:clr>
            <a:srgbClr val="A4A3A4"/>
          </p15:clr>
        </p15:guide>
        <p15:guide id="206" pos="2892" userDrawn="1">
          <p15:clr>
            <a:srgbClr val="A4A3A4"/>
          </p15:clr>
        </p15:guide>
        <p15:guide id="207" pos="2786" userDrawn="1">
          <p15:clr>
            <a:srgbClr val="A4A3A4"/>
          </p15:clr>
        </p15:guide>
        <p15:guide id="208" pos="2901" userDrawn="1">
          <p15:clr>
            <a:srgbClr val="A4A3A4"/>
          </p15:clr>
        </p15:guide>
        <p15:guide id="209" pos="3028" userDrawn="1">
          <p15:clr>
            <a:srgbClr val="A4A3A4"/>
          </p15:clr>
        </p15:guide>
        <p15:guide id="210" pos="2876" userDrawn="1">
          <p15:clr>
            <a:srgbClr val="A4A3A4"/>
          </p15:clr>
        </p15:guide>
        <p15:guide id="211" pos="2996" userDrawn="1">
          <p15:clr>
            <a:srgbClr val="A4A3A4"/>
          </p15:clr>
        </p15:guide>
        <p15:guide id="212" pos="2871" userDrawn="1">
          <p15:clr>
            <a:srgbClr val="A4A3A4"/>
          </p15:clr>
        </p15:guide>
        <p15:guide id="213" pos="2990" userDrawn="1">
          <p15:clr>
            <a:srgbClr val="A4A3A4"/>
          </p15:clr>
        </p15:guide>
        <p15:guide id="214" pos="3000" userDrawn="1">
          <p15:clr>
            <a:srgbClr val="A4A3A4"/>
          </p15:clr>
        </p15:guide>
        <p15:guide id="215" pos="3127" userDrawn="1">
          <p15:clr>
            <a:srgbClr val="A4A3A4"/>
          </p15:clr>
        </p15:guide>
        <p15:guide id="216" pos="2994" userDrawn="1">
          <p15:clr>
            <a:srgbClr val="A4A3A4"/>
          </p15:clr>
        </p15:guide>
        <p15:guide id="217" pos="3121" userDrawn="1">
          <p15:clr>
            <a:srgbClr val="A4A3A4"/>
          </p15:clr>
        </p15:guide>
        <p15:guide id="218" pos="3002" userDrawn="1">
          <p15:clr>
            <a:srgbClr val="A4A3A4"/>
          </p15:clr>
        </p15:guide>
        <p15:guide id="219" pos="3008" userDrawn="1">
          <p15:clr>
            <a:srgbClr val="A4A3A4"/>
          </p15:clr>
        </p15:guide>
        <p15:guide id="220" pos="3134" userDrawn="1">
          <p15:clr>
            <a:srgbClr val="A4A3A4"/>
          </p15:clr>
        </p15:guide>
        <p15:guide id="221" pos="2756" userDrawn="1">
          <p15:clr>
            <a:srgbClr val="A4A3A4"/>
          </p15:clr>
        </p15:guide>
        <p15:guide id="222" pos="2872" userDrawn="1">
          <p15:clr>
            <a:srgbClr val="A4A3A4"/>
          </p15:clr>
        </p15:guide>
        <p15:guide id="223" pos="2748" userDrawn="1">
          <p15:clr>
            <a:srgbClr val="A4A3A4"/>
          </p15:clr>
        </p15:guide>
        <p15:guide id="224" pos="2865" userDrawn="1">
          <p15:clr>
            <a:srgbClr val="A4A3A4"/>
          </p15:clr>
        </p15:guide>
        <p15:guide id="225" pos="2869" userDrawn="1">
          <p15:clr>
            <a:srgbClr val="A4A3A4"/>
          </p15:clr>
        </p15:guide>
        <p15:guide id="226" pos="2992" userDrawn="1">
          <p15:clr>
            <a:srgbClr val="A4A3A4"/>
          </p15:clr>
        </p15:guide>
        <p15:guide id="227" pos="2762" userDrawn="1">
          <p15:clr>
            <a:srgbClr val="A4A3A4"/>
          </p15:clr>
        </p15:guide>
        <p15:guide id="228" pos="2877" userDrawn="1">
          <p15:clr>
            <a:srgbClr val="A4A3A4"/>
          </p15:clr>
        </p15:guide>
        <p15:guide id="229" pos="3001" userDrawn="1">
          <p15:clr>
            <a:srgbClr val="A4A3A4"/>
          </p15:clr>
        </p15:guide>
        <p15:guide id="230" pos="3044" userDrawn="1">
          <p15:clr>
            <a:srgbClr val="A4A3A4"/>
          </p15:clr>
        </p15:guide>
        <p15:guide id="231" pos="3056" userDrawn="1">
          <p15:clr>
            <a:srgbClr val="A4A3A4"/>
          </p15:clr>
        </p15:guide>
        <p15:guide id="232" pos="2933" userDrawn="1">
          <p15:clr>
            <a:srgbClr val="A4A3A4"/>
          </p15:clr>
        </p15:guide>
        <p15:guide id="233" pos="3057" userDrawn="1">
          <p15:clr>
            <a:srgbClr val="A4A3A4"/>
          </p15:clr>
        </p15:guide>
        <p15:guide id="234" pos="3061" userDrawn="1">
          <p15:clr>
            <a:srgbClr val="A4A3A4"/>
          </p15:clr>
        </p15:guide>
        <p15:guide id="235" pos="3186" userDrawn="1">
          <p15:clr>
            <a:srgbClr val="A4A3A4"/>
          </p15:clr>
        </p15:guide>
        <p15:guide id="236" pos="2806" userDrawn="1">
          <p15:clr>
            <a:srgbClr val="A4A3A4"/>
          </p15:clr>
        </p15:guide>
        <p15:guide id="237" pos="2798" userDrawn="1">
          <p15:clr>
            <a:srgbClr val="A4A3A4"/>
          </p15:clr>
        </p15:guide>
        <p15:guide id="238" pos="2812" userDrawn="1">
          <p15:clr>
            <a:srgbClr val="A4A3A4"/>
          </p15:clr>
        </p15:guide>
        <p15:guide id="239" pos="2928" userDrawn="1">
          <p15:clr>
            <a:srgbClr val="A4A3A4"/>
          </p15:clr>
        </p15:guide>
        <p15:guide id="240" pos="2904" userDrawn="1">
          <p15:clr>
            <a:srgbClr val="A4A3A4"/>
          </p15:clr>
        </p15:guide>
        <p15:guide id="241" pos="3030" userDrawn="1">
          <p15:clr>
            <a:srgbClr val="A4A3A4"/>
          </p15:clr>
        </p15:guide>
        <p15:guide id="242" pos="3157" userDrawn="1">
          <p15:clr>
            <a:srgbClr val="A4A3A4"/>
          </p15:clr>
        </p15:guide>
        <p15:guide id="243" pos="3150" userDrawn="1">
          <p15:clr>
            <a:srgbClr val="A4A3A4"/>
          </p15:clr>
        </p15:guide>
        <p15:guide id="244" pos="3033" userDrawn="1">
          <p15:clr>
            <a:srgbClr val="A4A3A4"/>
          </p15:clr>
        </p15:guide>
        <p15:guide id="245" pos="3163" userDrawn="1">
          <p15:clr>
            <a:srgbClr val="A4A3A4"/>
          </p15:clr>
        </p15:guide>
        <p15:guide id="246" pos="2783" userDrawn="1">
          <p15:clr>
            <a:srgbClr val="A4A3A4"/>
          </p15:clr>
        </p15:guide>
        <p15:guide id="247" pos="2772" userDrawn="1">
          <p15:clr>
            <a:srgbClr val="A4A3A4"/>
          </p15:clr>
        </p15:guide>
        <p15:guide id="248" pos="3018" userDrawn="1">
          <p15:clr>
            <a:srgbClr val="A4A3A4"/>
          </p15:clr>
        </p15:guide>
        <p15:guide id="249" pos="2905" userDrawn="1">
          <p15:clr>
            <a:srgbClr val="A4A3A4"/>
          </p15:clr>
        </p15:guide>
        <p15:guide id="250" pos="3032" userDrawn="1">
          <p15:clr>
            <a:srgbClr val="A4A3A4"/>
          </p15:clr>
        </p15:guide>
        <p15:guide id="252" orient="horz" pos="2128" userDrawn="1">
          <p15:clr>
            <a:srgbClr val="A4A3A4"/>
          </p15:clr>
        </p15:guide>
        <p15:guide id="253" orient="horz" pos="2261" userDrawn="1">
          <p15:clr>
            <a:srgbClr val="A4A3A4"/>
          </p15:clr>
        </p15:guide>
        <p15:guide id="254" orient="horz" pos="2125" userDrawn="1">
          <p15:clr>
            <a:srgbClr val="A4A3A4"/>
          </p15:clr>
        </p15:guide>
        <p15:guide id="255" orient="horz" pos="2132" userDrawn="1">
          <p15:clr>
            <a:srgbClr val="A4A3A4"/>
          </p15:clr>
        </p15:guide>
        <p15:guide id="256" orient="horz" pos="2205" userDrawn="1">
          <p15:clr>
            <a:srgbClr val="A4A3A4"/>
          </p15:clr>
        </p15:guide>
        <p15:guide id="257" orient="horz" pos="2422" userDrawn="1">
          <p15:clr>
            <a:srgbClr val="A4A3A4"/>
          </p15:clr>
        </p15:guide>
        <p15:guide id="258" orient="horz" pos="2277" userDrawn="1">
          <p15:clr>
            <a:srgbClr val="A4A3A4"/>
          </p15:clr>
        </p15:guide>
        <p15:guide id="259" orient="horz" pos="2131" userDrawn="1">
          <p15:clr>
            <a:srgbClr val="A4A3A4"/>
          </p15:clr>
        </p15:guide>
        <p15:guide id="261" orient="horz" pos="2135" userDrawn="1">
          <p15:clr>
            <a:srgbClr val="A4A3A4"/>
          </p15:clr>
        </p15:guide>
        <p15:guide id="264" orient="horz" pos="2197" userDrawn="1">
          <p15:clr>
            <a:srgbClr val="A4A3A4"/>
          </p15:clr>
        </p15:guide>
        <p15:guide id="265" orient="horz" pos="2417" userDrawn="1">
          <p15:clr>
            <a:srgbClr val="A4A3A4"/>
          </p15:clr>
        </p15:guide>
        <p15:guide id="267" orient="horz" pos="2413" userDrawn="1">
          <p15:clr>
            <a:srgbClr val="A4A3A4"/>
          </p15:clr>
        </p15:guide>
        <p15:guide id="268" orient="horz" pos="2268" userDrawn="1">
          <p15:clr>
            <a:srgbClr val="A4A3A4"/>
          </p15:clr>
        </p15:guide>
        <p15:guide id="269" orient="horz" pos="2204" userDrawn="1">
          <p15:clr>
            <a:srgbClr val="A4A3A4"/>
          </p15:clr>
        </p15:guide>
        <p15:guide id="270" orient="horz" pos="2421" userDrawn="1">
          <p15:clr>
            <a:srgbClr val="A4A3A4"/>
          </p15:clr>
        </p15:guide>
        <p15:guide id="273" orient="horz" pos="2127" userDrawn="1">
          <p15:clr>
            <a:srgbClr val="A4A3A4"/>
          </p15:clr>
        </p15:guide>
        <p15:guide id="274" orient="horz" pos="2134" userDrawn="1">
          <p15:clr>
            <a:srgbClr val="A4A3A4"/>
          </p15:clr>
        </p15:guide>
        <p15:guide id="275" orient="horz" pos="2321" userDrawn="1">
          <p15:clr>
            <a:srgbClr val="A4A3A4"/>
          </p15:clr>
        </p15:guide>
        <p15:guide id="276" orient="horz" pos="2247" userDrawn="1">
          <p15:clr>
            <a:srgbClr val="A4A3A4"/>
          </p15:clr>
        </p15:guide>
        <p15:guide id="277" orient="horz" pos="2113" userDrawn="1">
          <p15:clr>
            <a:srgbClr val="A4A3A4"/>
          </p15:clr>
        </p15:guide>
        <p15:guide id="278" orient="horz" pos="2243" userDrawn="1">
          <p15:clr>
            <a:srgbClr val="A4A3A4"/>
          </p15:clr>
        </p15:guide>
        <p15:guide id="279" orient="horz" pos="2109" userDrawn="1">
          <p15:clr>
            <a:srgbClr val="A4A3A4"/>
          </p15:clr>
        </p15:guide>
        <p15:guide id="280" orient="horz" pos="2251" userDrawn="1">
          <p15:clr>
            <a:srgbClr val="A4A3A4"/>
          </p15:clr>
        </p15:guide>
        <p15:guide id="281" orient="horz" pos="2116" userDrawn="1">
          <p15:clr>
            <a:srgbClr val="A4A3A4"/>
          </p15:clr>
        </p15:guide>
        <p15:guide id="282" orient="horz" pos="2185" userDrawn="1">
          <p15:clr>
            <a:srgbClr val="A4A3A4"/>
          </p15:clr>
        </p15:guide>
        <p15:guide id="283" orient="horz" pos="2400" userDrawn="1">
          <p15:clr>
            <a:srgbClr val="A4A3A4"/>
          </p15:clr>
        </p15:guide>
        <p15:guide id="285" orient="horz" pos="2189" userDrawn="1">
          <p15:clr>
            <a:srgbClr val="A4A3A4"/>
          </p15:clr>
        </p15:guide>
        <p15:guide id="286" orient="horz" pos="2404" userDrawn="1">
          <p15:clr>
            <a:srgbClr val="A4A3A4"/>
          </p15:clr>
        </p15:guide>
        <p15:guide id="287" orient="horz" pos="2260" userDrawn="1">
          <p15:clr>
            <a:srgbClr val="A4A3A4"/>
          </p15:clr>
        </p15:guide>
        <p15:guide id="289" orient="horz" pos="2112" userDrawn="1">
          <p15:clr>
            <a:srgbClr val="A4A3A4"/>
          </p15:clr>
        </p15:guide>
        <p15:guide id="290" orient="horz" pos="2120" userDrawn="1">
          <p15:clr>
            <a:srgbClr val="A4A3A4"/>
          </p15:clr>
        </p15:guide>
        <p15:guide id="291" orient="horz" pos="2316" userDrawn="1">
          <p15:clr>
            <a:srgbClr val="A4A3A4"/>
          </p15:clr>
        </p15:guide>
        <p15:guide id="292" orient="horz" pos="2248" userDrawn="1">
          <p15:clr>
            <a:srgbClr val="A4A3A4"/>
          </p15:clr>
        </p15:guide>
        <p15:guide id="293" orient="horz" pos="2108" userDrawn="1">
          <p15:clr>
            <a:srgbClr val="A4A3A4"/>
          </p15:clr>
        </p15:guide>
        <p15:guide id="294" orient="horz" pos="2184" userDrawn="1">
          <p15:clr>
            <a:srgbClr val="A4A3A4"/>
          </p15:clr>
        </p15:guide>
        <p15:guide id="295" orient="horz" pos="2180" userDrawn="1">
          <p15:clr>
            <a:srgbClr val="A4A3A4"/>
          </p15:clr>
        </p15:guide>
        <p15:guide id="296" orient="horz" pos="2399" userDrawn="1">
          <p15:clr>
            <a:srgbClr val="A4A3A4"/>
          </p15:clr>
        </p15:guide>
        <p15:guide id="297" orient="horz" pos="2255" userDrawn="1">
          <p15:clr>
            <a:srgbClr val="A4A3A4"/>
          </p15:clr>
        </p15:guide>
        <p15:guide id="298" orient="horz" pos="2395" userDrawn="1">
          <p15:clr>
            <a:srgbClr val="A4A3A4"/>
          </p15:clr>
        </p15:guide>
        <p15:guide id="300" orient="horz" pos="2188" userDrawn="1">
          <p15:clr>
            <a:srgbClr val="A4A3A4"/>
          </p15:clr>
        </p15:guide>
        <p15:guide id="302" orient="horz" pos="2259" userDrawn="1">
          <p15:clr>
            <a:srgbClr val="A4A3A4"/>
          </p15:clr>
        </p15:guide>
        <p15:guide id="303" orient="horz" pos="2115" userDrawn="1">
          <p15:clr>
            <a:srgbClr val="A4A3A4"/>
          </p15:clr>
        </p15:guide>
        <p15:guide id="304" orient="horz" pos="2111" userDrawn="1">
          <p15:clr>
            <a:srgbClr val="A4A3A4"/>
          </p15:clr>
        </p15:guide>
        <p15:guide id="305" orient="horz" pos="2119" userDrawn="1">
          <p15:clr>
            <a:srgbClr val="A4A3A4"/>
          </p15:clr>
        </p15:guide>
        <p15:guide id="306" pos="2803" userDrawn="1">
          <p15:clr>
            <a:srgbClr val="A4A3A4"/>
          </p15:clr>
        </p15:guide>
        <p15:guide id="307" pos="2810" userDrawn="1">
          <p15:clr>
            <a:srgbClr val="A4A3A4"/>
          </p15:clr>
        </p15:guide>
        <p15:guide id="308" pos="2932" userDrawn="1">
          <p15:clr>
            <a:srgbClr val="A4A3A4"/>
          </p15:clr>
        </p15:guide>
        <p15:guide id="309" pos="3053" userDrawn="1">
          <p15:clr>
            <a:srgbClr val="A4A3A4"/>
          </p15:clr>
        </p15:guide>
        <p15:guide id="310" pos="2685" userDrawn="1">
          <p15:clr>
            <a:srgbClr val="A4A3A4"/>
          </p15:clr>
        </p15:guide>
        <p15:guide id="311" pos="2678" userDrawn="1">
          <p15:clr>
            <a:srgbClr val="A4A3A4"/>
          </p15:clr>
        </p15:guide>
        <p15:guide id="312" pos="2794" userDrawn="1">
          <p15:clr>
            <a:srgbClr val="A4A3A4"/>
          </p15:clr>
        </p15:guide>
        <p15:guide id="313" pos="2693" userDrawn="1">
          <p15:clr>
            <a:srgbClr val="A4A3A4"/>
          </p15:clr>
        </p15:guide>
        <p15:guide id="314" pos="2780" userDrawn="1">
          <p15:clr>
            <a:srgbClr val="A4A3A4"/>
          </p15:clr>
        </p15:guide>
        <p15:guide id="315" pos="2774" userDrawn="1">
          <p15:clr>
            <a:srgbClr val="A4A3A4"/>
          </p15:clr>
        </p15:guide>
        <p15:guide id="316" pos="3016" userDrawn="1">
          <p15:clr>
            <a:srgbClr val="A4A3A4"/>
          </p15:clr>
        </p15:guide>
        <p15:guide id="317" pos="2787" userDrawn="1">
          <p15:clr>
            <a:srgbClr val="A4A3A4"/>
          </p15:clr>
        </p15:guide>
        <p15:guide id="318" pos="2908" userDrawn="1">
          <p15:clr>
            <a:srgbClr val="A4A3A4"/>
          </p15:clr>
        </p15:guide>
        <p15:guide id="319" pos="2665" userDrawn="1">
          <p15:clr>
            <a:srgbClr val="A4A3A4"/>
          </p15:clr>
        </p15:guide>
        <p15:guide id="320" pos="2655" userDrawn="1">
          <p15:clr>
            <a:srgbClr val="A4A3A4"/>
          </p15:clr>
        </p15:guide>
        <p15:guide id="321" pos="2767" userDrawn="1">
          <p15:clr>
            <a:srgbClr val="A4A3A4"/>
          </p15:clr>
        </p15:guide>
        <p15:guide id="322" pos="2670" userDrawn="1">
          <p15:clr>
            <a:srgbClr val="A4A3A4"/>
          </p15:clr>
        </p15:guide>
        <p15:guide id="323" pos="2828" userDrawn="1">
          <p15:clr>
            <a:srgbClr val="A4A3A4"/>
          </p15:clr>
        </p15:guide>
        <p15:guide id="324" pos="2941" userDrawn="1">
          <p15:clr>
            <a:srgbClr val="A4A3A4"/>
          </p15:clr>
        </p15:guide>
        <p15:guide id="325" pos="2952" userDrawn="1">
          <p15:clr>
            <a:srgbClr val="A4A3A4"/>
          </p15:clr>
        </p15:guide>
        <p15:guide id="326" pos="3074" userDrawn="1">
          <p15:clr>
            <a:srgbClr val="A4A3A4"/>
          </p15:clr>
        </p15:guide>
        <p15:guide id="327" pos="3068" userDrawn="1">
          <p15:clr>
            <a:srgbClr val="A4A3A4"/>
          </p15:clr>
        </p15:guide>
        <p15:guide id="328" pos="2835" userDrawn="1">
          <p15:clr>
            <a:srgbClr val="A4A3A4"/>
          </p15:clr>
        </p15:guide>
        <p15:guide id="329" pos="2959" userDrawn="1">
          <p15:clr>
            <a:srgbClr val="A4A3A4"/>
          </p15:clr>
        </p15:guide>
        <p15:guide id="330" pos="3080" userDrawn="1">
          <p15:clr>
            <a:srgbClr val="A4A3A4"/>
          </p15:clr>
        </p15:guide>
        <p15:guide id="331" pos="2710" userDrawn="1">
          <p15:clr>
            <a:srgbClr val="A4A3A4"/>
          </p15:clr>
        </p15:guide>
        <p15:guide id="332" pos="2826" userDrawn="1">
          <p15:clr>
            <a:srgbClr val="A4A3A4"/>
          </p15:clr>
        </p15:guide>
        <p15:guide id="333" pos="2703" userDrawn="1">
          <p15:clr>
            <a:srgbClr val="A4A3A4"/>
          </p15:clr>
        </p15:guide>
        <p15:guide id="334" pos="2818" userDrawn="1">
          <p15:clr>
            <a:srgbClr val="A4A3A4"/>
          </p15:clr>
        </p15:guide>
        <p15:guide id="335" pos="2827" userDrawn="1">
          <p15:clr>
            <a:srgbClr val="A4A3A4"/>
          </p15:clr>
        </p15:guide>
        <p15:guide id="336" pos="2822" userDrawn="1">
          <p15:clr>
            <a:srgbClr val="A4A3A4"/>
          </p15:clr>
        </p15:guide>
        <p15:guide id="337" pos="2718" userDrawn="1">
          <p15:clr>
            <a:srgbClr val="A4A3A4"/>
          </p15:clr>
        </p15:guide>
        <p15:guide id="338" pos="2830" userDrawn="1">
          <p15:clr>
            <a:srgbClr val="A4A3A4"/>
          </p15:clr>
        </p15:guide>
        <p15:guide id="339" pos="2807" userDrawn="1">
          <p15:clr>
            <a:srgbClr val="A4A3A4"/>
          </p15:clr>
        </p15:guide>
        <p15:guide id="340" pos="2800" userDrawn="1">
          <p15:clr>
            <a:srgbClr val="A4A3A4"/>
          </p15:clr>
        </p15:guide>
        <p15:guide id="341" pos="2814" userDrawn="1">
          <p15:clr>
            <a:srgbClr val="A4A3A4"/>
          </p15:clr>
        </p15:guide>
        <p15:guide id="342" pos="2929" userDrawn="1">
          <p15:clr>
            <a:srgbClr val="A4A3A4"/>
          </p15:clr>
        </p15:guide>
        <p15:guide id="343" pos="2936" userDrawn="1">
          <p15:clr>
            <a:srgbClr val="A4A3A4"/>
          </p15:clr>
        </p15:guide>
        <p15:guide id="344" pos="2690" userDrawn="1">
          <p15:clr>
            <a:srgbClr val="A4A3A4"/>
          </p15:clr>
        </p15:guide>
        <p15:guide id="345" pos="2679" userDrawn="1">
          <p15:clr>
            <a:srgbClr val="A4A3A4"/>
          </p15:clr>
        </p15:guide>
        <p15:guide id="346" pos="2799" userDrawn="1">
          <p15:clr>
            <a:srgbClr val="A4A3A4"/>
          </p15:clr>
        </p15:guide>
        <p15:guide id="347" pos="2697" userDrawn="1">
          <p15:clr>
            <a:srgbClr val="A4A3A4"/>
          </p15:clr>
        </p15:guide>
        <p15:guide id="348" pos="2784" userDrawn="1">
          <p15:clr>
            <a:srgbClr val="A4A3A4"/>
          </p15:clr>
        </p15:guide>
        <p15:guide id="349" pos="2778" userDrawn="1">
          <p15:clr>
            <a:srgbClr val="A4A3A4"/>
          </p15:clr>
        </p15:guide>
        <p15:guide id="350" pos="2667" userDrawn="1">
          <p15:clr>
            <a:srgbClr val="A4A3A4"/>
          </p15:clr>
        </p15:guide>
        <p15:guide id="351" pos="2659" userDrawn="1">
          <p15:clr>
            <a:srgbClr val="A4A3A4"/>
          </p15:clr>
        </p15:guide>
        <p15:guide id="352" pos="2776" userDrawn="1">
          <p15:clr>
            <a:srgbClr val="A4A3A4"/>
          </p15:clr>
        </p15:guide>
        <p15:guide id="353" pos="2674" userDrawn="1">
          <p15:clr>
            <a:srgbClr val="A4A3A4"/>
          </p15:clr>
        </p15:guide>
        <p15:guide id="354" pos="2880" userDrawn="1">
          <p15:clr>
            <a:srgbClr val="A4A3A4"/>
          </p15:clr>
        </p15:guide>
        <p15:guide id="355" pos="2875" userDrawn="1">
          <p15:clr>
            <a:srgbClr val="A4A3A4"/>
          </p15:clr>
        </p15:guide>
        <p15:guide id="356" pos="3009" userDrawn="1">
          <p15:clr>
            <a:srgbClr val="A4A3A4"/>
          </p15:clr>
        </p15:guide>
        <p15:guide id="357" pos="2646" userDrawn="1">
          <p15:clr>
            <a:srgbClr val="A4A3A4"/>
          </p15:clr>
        </p15:guide>
        <p15:guide id="358" pos="2758" userDrawn="1">
          <p15:clr>
            <a:srgbClr val="A4A3A4"/>
          </p15:clr>
        </p15:guide>
        <p15:guide id="359" pos="2639" userDrawn="1">
          <p15:clr>
            <a:srgbClr val="A4A3A4"/>
          </p15:clr>
        </p15:guide>
        <p15:guide id="360" pos="2751" userDrawn="1">
          <p15:clr>
            <a:srgbClr val="A4A3A4"/>
          </p15:clr>
        </p15:guide>
        <p15:guide id="361" pos="2755" userDrawn="1">
          <p15:clr>
            <a:srgbClr val="A4A3A4"/>
          </p15:clr>
        </p15:guide>
        <p15:guide id="362" pos="2651" userDrawn="1">
          <p15:clr>
            <a:srgbClr val="A4A3A4"/>
          </p15:clr>
        </p15:guide>
        <p15:guide id="363" pos="2881" userDrawn="1">
          <p15:clr>
            <a:srgbClr val="A4A3A4"/>
          </p15:clr>
        </p15:guide>
        <p15:guide id="364" pos="3060" userDrawn="1">
          <p15:clr>
            <a:srgbClr val="A4A3A4"/>
          </p15:clr>
        </p15:guide>
        <p15:guide id="365" pos="2694" userDrawn="1">
          <p15:clr>
            <a:srgbClr val="A4A3A4"/>
          </p15:clr>
        </p15:guide>
        <p15:guide id="366" pos="2686" userDrawn="1">
          <p15:clr>
            <a:srgbClr val="A4A3A4"/>
          </p15:clr>
        </p15:guide>
        <p15:guide id="367" pos="2699" userDrawn="1">
          <p15:clr>
            <a:srgbClr val="A4A3A4"/>
          </p15:clr>
        </p15:guide>
        <p15:guide id="368" pos="2811" userDrawn="1">
          <p15:clr>
            <a:srgbClr val="A4A3A4"/>
          </p15:clr>
        </p15:guide>
        <p15:guide id="369" pos="2788" userDrawn="1">
          <p15:clr>
            <a:srgbClr val="A4A3A4"/>
          </p15:clr>
        </p15:guide>
        <p15:guide id="370" pos="2909" userDrawn="1">
          <p15:clr>
            <a:srgbClr val="A4A3A4"/>
          </p15:clr>
        </p15:guide>
        <p15:guide id="371" pos="3024" userDrawn="1">
          <p15:clr>
            <a:srgbClr val="A4A3A4"/>
          </p15:clr>
        </p15:guide>
        <p15:guide id="372" pos="2912" userDrawn="1">
          <p15:clr>
            <a:srgbClr val="A4A3A4"/>
          </p15:clr>
        </p15:guide>
        <p15:guide id="373" pos="3037" userDrawn="1">
          <p15:clr>
            <a:srgbClr val="A4A3A4"/>
          </p15:clr>
        </p15:guide>
        <p15:guide id="374" pos="2671" userDrawn="1">
          <p15:clr>
            <a:srgbClr val="A4A3A4"/>
          </p15:clr>
        </p15:guide>
        <p15:guide id="375" pos="26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11B"/>
    <a:srgbClr val="CBE0F4"/>
    <a:srgbClr val="000000"/>
    <a:srgbClr val="00B1EA"/>
    <a:srgbClr val="17D3AB"/>
    <a:srgbClr val="494C4F"/>
    <a:srgbClr val="E7F0FA"/>
    <a:srgbClr val="FFFFFF"/>
    <a:srgbClr val="EEEEEE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5520" autoAdjust="0"/>
  </p:normalViewPr>
  <p:slideViewPr>
    <p:cSldViewPr snapToGrid="0" snapToObjects="1">
      <p:cViewPr varScale="1">
        <p:scale>
          <a:sx n="80" d="100"/>
          <a:sy n="80" d="100"/>
        </p:scale>
        <p:origin x="691" y="48"/>
      </p:cViewPr>
      <p:guideLst>
        <p:guide orient="horz" pos="4233"/>
        <p:guide orient="horz" pos="3761"/>
        <p:guide orient="horz" pos="926"/>
        <p:guide pos="372"/>
        <p:guide pos="7220"/>
        <p:guide orient="horz" pos="3975"/>
        <p:guide orient="horz" pos="690"/>
        <p:guide pos="308"/>
        <p:guide pos="7124"/>
        <p:guide pos="1032"/>
      </p:guideLst>
    </p:cSldViewPr>
  </p:slideViewPr>
  <p:outlineViewPr>
    <p:cViewPr>
      <p:scale>
        <a:sx n="33" d="100"/>
        <a:sy n="33" d="100"/>
      </p:scale>
      <p:origin x="48" y="8805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napToObjects="1">
      <p:cViewPr>
        <p:scale>
          <a:sx n="110" d="100"/>
          <a:sy n="110" d="100"/>
        </p:scale>
        <p:origin x="1872" y="-204"/>
      </p:cViewPr>
      <p:guideLst>
        <p:guide orient="horz" pos="2412"/>
        <p:guide pos="2920"/>
        <p:guide orient="horz" pos="2267"/>
        <p:guide pos="3041"/>
        <p:guide orient="horz" pos="2408"/>
        <p:guide orient="horz" pos="2264"/>
        <p:guide pos="2913"/>
        <p:guide pos="3034"/>
        <p:guide orient="horz" pos="2491"/>
        <p:guide orient="horz" pos="2342"/>
        <p:guide orient="horz" pos="2487"/>
        <p:guide orient="horz" pos="2337"/>
        <p:guide pos="3045"/>
        <p:guide pos="3173"/>
        <p:guide pos="3038"/>
        <p:guide pos="3166"/>
        <p:guide orient="horz" pos="2416"/>
        <p:guide orient="horz" pos="2271"/>
        <p:guide orient="horz" pos="2495"/>
        <p:guide orient="horz" pos="2346"/>
        <p:guide pos="2927"/>
        <p:guide pos="3048"/>
        <p:guide pos="3054"/>
        <p:guide pos="3179"/>
        <p:guide orient="horz" pos="2335"/>
        <p:guide orient="horz" pos="2195"/>
        <p:guide orient="horz" pos="2331"/>
        <p:guide orient="horz" pos="2192"/>
        <p:guide orient="horz" pos="2339"/>
        <p:guide orient="horz" pos="2199"/>
        <p:guide orient="horz" pos="2415"/>
        <p:guide pos="2796"/>
        <p:guide pos="2915"/>
        <p:guide pos="2790"/>
        <p:guide pos="2907"/>
        <p:guide pos="2919"/>
        <p:guide pos="2911"/>
        <p:guide pos="3036"/>
        <p:guide pos="2804"/>
        <p:guide pos="2921"/>
        <p:guide pos="3046"/>
        <p:guide orient="horz" pos="2270"/>
        <p:guide orient="horz" pos="2411"/>
        <p:guide orient="horz" pos="2494"/>
        <p:guide orient="horz" pos="2345"/>
        <p:guide orient="horz" pos="2490"/>
        <p:guide orient="horz" pos="2341"/>
        <p:guide orient="horz" pos="2419"/>
        <p:guide orient="horz" pos="2274"/>
        <p:guide orient="horz" pos="2498"/>
        <p:guide orient="horz" pos="2349"/>
        <p:guide orient="horz" pos="2338"/>
        <p:guide orient="horz" pos="2198"/>
        <p:guide orient="horz" pos="2334"/>
        <p:guide orient="horz" pos="2343"/>
        <p:guide orient="horz" pos="2202"/>
        <p:guide pos="2896"/>
        <p:guide pos="3017"/>
        <p:guide pos="2889"/>
        <p:guide pos="3010"/>
        <p:guide pos="3020"/>
        <p:guide pos="3149"/>
        <p:guide pos="3014"/>
        <p:guide pos="3142"/>
        <p:guide pos="2903"/>
        <p:guide pos="3022"/>
        <p:guide pos="3029"/>
        <p:guide pos="3155"/>
        <p:guide pos="2775"/>
        <p:guide pos="2891"/>
        <p:guide pos="2766"/>
        <p:guide pos="2883"/>
        <p:guide pos="2895"/>
        <p:guide pos="2888"/>
        <p:guide pos="3012"/>
        <p:guide pos="2782"/>
        <p:guide pos="2897"/>
        <p:guide pos="3021"/>
        <p:guide orient="horz" pos="2407"/>
        <p:guide orient="horz" pos="2263"/>
        <p:guide orient="horz" pos="2486"/>
        <p:guide orient="horz" pos="2191"/>
        <p:guide orient="horz" pos="2414"/>
        <p:guide orient="horz" pos="2410"/>
        <p:guide orient="horz" pos="2266"/>
        <p:guide orient="horz" pos="2493"/>
        <p:guide orient="horz" pos="2344"/>
        <p:guide orient="horz" pos="2489"/>
        <p:guide orient="horz" pos="2340"/>
        <p:guide orient="horz" pos="2418"/>
        <p:guide orient="horz" pos="2273"/>
        <p:guide orient="horz" pos="2497"/>
        <p:guide orient="horz" pos="2348"/>
        <p:guide orient="horz" pos="2194"/>
        <p:guide orient="horz" pos="2201"/>
        <p:guide pos="2947"/>
        <p:guide pos="3069"/>
        <p:guide pos="2940"/>
        <p:guide pos="3062"/>
        <p:guide pos="3073"/>
        <p:guide pos="3202"/>
        <p:guide pos="3066"/>
        <p:guide pos="3195"/>
        <p:guide pos="2953"/>
        <p:guide pos="3076"/>
        <p:guide pos="3082"/>
        <p:guide pos="3208"/>
        <p:guide pos="2823"/>
        <p:guide pos="2943"/>
        <p:guide pos="2816"/>
        <p:guide pos="2935"/>
        <p:guide pos="2945"/>
        <p:guide pos="2939"/>
        <p:guide pos="3064"/>
        <p:guide pos="2831"/>
        <p:guide pos="2948"/>
        <p:guide pos="2924"/>
        <p:guide pos="2917"/>
        <p:guide pos="3049"/>
        <p:guide pos="3177"/>
        <p:guide pos="3042"/>
        <p:guide pos="3170"/>
        <p:guide pos="2931"/>
        <p:guide pos="3052"/>
        <p:guide pos="3058"/>
        <p:guide pos="3183"/>
        <p:guide pos="2802"/>
        <p:guide pos="2791"/>
        <p:guide pos="2923"/>
        <p:guide pos="2916"/>
        <p:guide pos="3040"/>
        <p:guide pos="2808"/>
        <p:guide pos="2925"/>
        <p:guide pos="3050"/>
        <p:guide orient="horz" pos="2394"/>
        <p:guide orient="horz" pos="2250"/>
        <p:guide orient="horz" pos="2390"/>
        <p:guide orient="horz" pos="2246"/>
        <p:guide orient="horz" pos="2472"/>
        <p:guide orient="horz" pos="2324"/>
        <p:guide orient="horz" pos="2468"/>
        <p:guide orient="horz" pos="2319"/>
        <p:guide orient="horz" pos="2398"/>
        <p:guide orient="horz" pos="2254"/>
        <p:guide orient="horz" pos="2476"/>
        <p:guide orient="horz" pos="2328"/>
        <p:guide orient="horz" pos="2318"/>
        <p:guide orient="horz" pos="2179"/>
        <p:guide orient="horz" pos="2314"/>
        <p:guide orient="horz" pos="2175"/>
        <p:guide orient="horz" pos="2322"/>
        <p:guide orient="horz" pos="2182"/>
        <p:guide orient="horz" pos="2397"/>
        <p:guide orient="horz" pos="2253"/>
        <p:guide orient="horz" pos="2393"/>
        <p:guide orient="horz" pos="2249"/>
        <p:guide orient="horz" pos="2475"/>
        <p:guide orient="horz" pos="2327"/>
        <p:guide orient="horz" pos="2471"/>
        <p:guide orient="horz" pos="2323"/>
        <p:guide orient="horz" pos="2401"/>
        <p:guide orient="horz" pos="2257"/>
        <p:guide orient="horz" pos="2480"/>
        <p:guide orient="horz" pos="2320"/>
        <p:guide orient="horz" pos="2317"/>
        <p:guide orient="horz" pos="2178"/>
        <p:guide orient="horz" pos="2325"/>
        <p:guide orient="horz" pos="2186"/>
        <p:guide orient="horz" pos="2389"/>
        <p:guide orient="horz" pos="2174"/>
        <p:guide orient="horz" pos="2396"/>
        <p:guide orient="horz" pos="2252"/>
        <p:guide orient="horz" pos="2392"/>
        <p:guide orient="horz" pos="2474"/>
        <p:guide orient="horz" pos="2326"/>
        <p:guide orient="horz" pos="2256"/>
        <p:guide orient="horz" pos="2479"/>
        <p:guide orient="horz" pos="2330"/>
        <p:guide orient="horz" pos="2181"/>
        <p:guide orient="horz" pos="2177"/>
        <p:guide pos="2900"/>
        <p:guide pos="2893"/>
        <p:guide pos="3013"/>
        <p:guide pos="3026"/>
        <p:guide pos="3153"/>
        <p:guide pos="3146"/>
        <p:guide pos="3159"/>
        <p:guide pos="2779"/>
        <p:guide pos="2770"/>
        <p:guide pos="2899"/>
        <p:guide pos="2892"/>
        <p:guide pos="2786"/>
        <p:guide pos="2901"/>
        <p:guide pos="3028"/>
        <p:guide pos="2876"/>
        <p:guide pos="2996"/>
        <p:guide pos="2871"/>
        <p:guide pos="2990"/>
        <p:guide pos="3000"/>
        <p:guide pos="3127"/>
        <p:guide pos="2994"/>
        <p:guide pos="3121"/>
        <p:guide pos="3002"/>
        <p:guide pos="3008"/>
        <p:guide pos="3134"/>
        <p:guide pos="2756"/>
        <p:guide pos="2872"/>
        <p:guide pos="2748"/>
        <p:guide pos="2865"/>
        <p:guide pos="2869"/>
        <p:guide pos="2992"/>
        <p:guide pos="2762"/>
        <p:guide pos="2877"/>
        <p:guide pos="3001"/>
        <p:guide pos="3044"/>
        <p:guide pos="3056"/>
        <p:guide pos="2933"/>
        <p:guide pos="3057"/>
        <p:guide pos="3061"/>
        <p:guide pos="3186"/>
        <p:guide pos="2806"/>
        <p:guide pos="2798"/>
        <p:guide pos="2812"/>
        <p:guide pos="2928"/>
        <p:guide pos="2904"/>
        <p:guide pos="3030"/>
        <p:guide pos="3157"/>
        <p:guide pos="3150"/>
        <p:guide pos="3033"/>
        <p:guide pos="3163"/>
        <p:guide pos="2783"/>
        <p:guide pos="2772"/>
        <p:guide pos="3018"/>
        <p:guide pos="2905"/>
        <p:guide pos="3032"/>
        <p:guide orient="horz" pos="2128"/>
        <p:guide orient="horz" pos="2261"/>
        <p:guide orient="horz" pos="2125"/>
        <p:guide orient="horz" pos="2132"/>
        <p:guide orient="horz" pos="2205"/>
        <p:guide orient="horz" pos="2422"/>
        <p:guide orient="horz" pos="2277"/>
        <p:guide orient="horz" pos="2131"/>
        <p:guide orient="horz" pos="2135"/>
        <p:guide orient="horz" pos="2197"/>
        <p:guide orient="horz" pos="2417"/>
        <p:guide orient="horz" pos="2413"/>
        <p:guide orient="horz" pos="2268"/>
        <p:guide orient="horz" pos="2204"/>
        <p:guide orient="horz" pos="2421"/>
        <p:guide orient="horz" pos="2127"/>
        <p:guide orient="horz" pos="2134"/>
        <p:guide orient="horz" pos="2321"/>
        <p:guide orient="horz" pos="2247"/>
        <p:guide orient="horz" pos="2113"/>
        <p:guide orient="horz" pos="2243"/>
        <p:guide orient="horz" pos="2109"/>
        <p:guide orient="horz" pos="2251"/>
        <p:guide orient="horz" pos="2116"/>
        <p:guide orient="horz" pos="2185"/>
        <p:guide orient="horz" pos="2400"/>
        <p:guide orient="horz" pos="2189"/>
        <p:guide orient="horz" pos="2404"/>
        <p:guide orient="horz" pos="2260"/>
        <p:guide orient="horz" pos="2112"/>
        <p:guide orient="horz" pos="2120"/>
        <p:guide orient="horz" pos="2316"/>
        <p:guide orient="horz" pos="2248"/>
        <p:guide orient="horz" pos="2108"/>
        <p:guide orient="horz" pos="2184"/>
        <p:guide orient="horz" pos="2180"/>
        <p:guide orient="horz" pos="2399"/>
        <p:guide orient="horz" pos="2255"/>
        <p:guide orient="horz" pos="2395"/>
        <p:guide orient="horz" pos="2188"/>
        <p:guide orient="horz" pos="2259"/>
        <p:guide orient="horz" pos="2115"/>
        <p:guide orient="horz" pos="2111"/>
        <p:guide orient="horz" pos="2119"/>
        <p:guide pos="2803"/>
        <p:guide pos="2810"/>
        <p:guide pos="2932"/>
        <p:guide pos="3053"/>
        <p:guide pos="2685"/>
        <p:guide pos="2678"/>
        <p:guide pos="2794"/>
        <p:guide pos="2693"/>
        <p:guide pos="2780"/>
        <p:guide pos="2774"/>
        <p:guide pos="3016"/>
        <p:guide pos="2787"/>
        <p:guide pos="2908"/>
        <p:guide pos="2665"/>
        <p:guide pos="2655"/>
        <p:guide pos="2767"/>
        <p:guide pos="2670"/>
        <p:guide pos="2828"/>
        <p:guide pos="2941"/>
        <p:guide pos="2952"/>
        <p:guide pos="3074"/>
        <p:guide pos="3068"/>
        <p:guide pos="2835"/>
        <p:guide pos="2959"/>
        <p:guide pos="3080"/>
        <p:guide pos="2710"/>
        <p:guide pos="2826"/>
        <p:guide pos="2703"/>
        <p:guide pos="2818"/>
        <p:guide pos="2827"/>
        <p:guide pos="2822"/>
        <p:guide pos="2718"/>
        <p:guide pos="2830"/>
        <p:guide pos="2807"/>
        <p:guide pos="2800"/>
        <p:guide pos="2814"/>
        <p:guide pos="2929"/>
        <p:guide pos="2936"/>
        <p:guide pos="2690"/>
        <p:guide pos="2679"/>
        <p:guide pos="2799"/>
        <p:guide pos="2697"/>
        <p:guide pos="2784"/>
        <p:guide pos="2778"/>
        <p:guide pos="2667"/>
        <p:guide pos="2659"/>
        <p:guide pos="2776"/>
        <p:guide pos="2674"/>
        <p:guide pos="2880"/>
        <p:guide pos="2875"/>
        <p:guide pos="3009"/>
        <p:guide pos="2646"/>
        <p:guide pos="2758"/>
        <p:guide pos="2639"/>
        <p:guide pos="2751"/>
        <p:guide pos="2755"/>
        <p:guide pos="2651"/>
        <p:guide pos="2881"/>
        <p:guide pos="3060"/>
        <p:guide pos="2694"/>
        <p:guide pos="2686"/>
        <p:guide pos="2699"/>
        <p:guide pos="2811"/>
        <p:guide pos="2788"/>
        <p:guide pos="2909"/>
        <p:guide pos="3024"/>
        <p:guide pos="2912"/>
        <p:guide pos="3037"/>
        <p:guide pos="2671"/>
        <p:guide pos="266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048BF5-6AEB-41B4-BBC5-30903735895C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4A2BBBA9-E9F5-4E38-89ED-0896B1FE4572}">
      <dgm:prSet phldrT="[Text]" custT="1"/>
      <dgm:spPr/>
      <dgm:t>
        <a:bodyPr/>
        <a:lstStyle/>
        <a:p>
          <a:r>
            <a:rPr lang="en-IN" sz="3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1. Create Local copy of Testing file</a:t>
          </a:r>
        </a:p>
      </dgm:t>
    </dgm:pt>
    <dgm:pt modelId="{90292453-D652-4935-80B1-635FA7A30422}" type="parTrans" cxnId="{96A0E1CD-F586-4844-8BCA-6D85FFD7933F}">
      <dgm:prSet/>
      <dgm:spPr/>
      <dgm:t>
        <a:bodyPr/>
        <a:lstStyle/>
        <a:p>
          <a:endParaRPr lang="en-IN"/>
        </a:p>
      </dgm:t>
    </dgm:pt>
    <dgm:pt modelId="{4BDEB55F-4C6E-4A01-839B-3BF2537C72C1}" type="sibTrans" cxnId="{96A0E1CD-F586-4844-8BCA-6D85FFD7933F}">
      <dgm:prSet/>
      <dgm:spPr/>
      <dgm:t>
        <a:bodyPr/>
        <a:lstStyle/>
        <a:p>
          <a:endParaRPr lang="en-IN"/>
        </a:p>
      </dgm:t>
    </dgm:pt>
    <dgm:pt modelId="{A78AEFBF-1BE3-44B3-8B73-CFFA50874DB2}">
      <dgm:prSet phldrT="[Text]" custT="1"/>
      <dgm:spPr/>
      <dgm:t>
        <a:bodyPr/>
        <a:lstStyle/>
        <a:p>
          <a:r>
            <a:rPr lang="en-IN" sz="3200" dirty="0">
              <a:latin typeface="Calibri" panose="020F0502020204030204" pitchFamily="34" charset="0"/>
              <a:cs typeface="Calibri" panose="020F0502020204030204" pitchFamily="34" charset="0"/>
            </a:rPr>
            <a:t>2. Rename the File</a:t>
          </a:r>
        </a:p>
      </dgm:t>
    </dgm:pt>
    <dgm:pt modelId="{06F081D9-8F2A-4477-9291-2B04F702099D}" type="parTrans" cxnId="{91954B09-0E34-499E-99DD-0C590FAC8429}">
      <dgm:prSet/>
      <dgm:spPr/>
      <dgm:t>
        <a:bodyPr/>
        <a:lstStyle/>
        <a:p>
          <a:endParaRPr lang="en-IN"/>
        </a:p>
      </dgm:t>
    </dgm:pt>
    <dgm:pt modelId="{E19B35B7-08F0-40DB-85BC-22C7A9691965}" type="sibTrans" cxnId="{91954B09-0E34-499E-99DD-0C590FAC8429}">
      <dgm:prSet/>
      <dgm:spPr/>
      <dgm:t>
        <a:bodyPr/>
        <a:lstStyle/>
        <a:p>
          <a:endParaRPr lang="en-IN"/>
        </a:p>
      </dgm:t>
    </dgm:pt>
    <dgm:pt modelId="{48FF571D-0680-4560-9694-268610AD7881}">
      <dgm:prSet phldrT="[Text]" custT="1"/>
      <dgm:spPr/>
      <dgm:t>
        <a:bodyPr/>
        <a:lstStyle/>
        <a:p>
          <a:r>
            <a:rPr lang="en-IN" sz="3200" dirty="0">
              <a:latin typeface="Calibri" panose="020F0502020204030204" pitchFamily="34" charset="0"/>
              <a:cs typeface="Calibri" panose="020F0502020204030204" pitchFamily="34" charset="0"/>
            </a:rPr>
            <a:t>3. User Testing</a:t>
          </a:r>
        </a:p>
      </dgm:t>
    </dgm:pt>
    <dgm:pt modelId="{882A0517-F394-4A40-8099-DFE230058009}" type="parTrans" cxnId="{F65D1810-718B-4C58-8662-D299CC3EC8DB}">
      <dgm:prSet/>
      <dgm:spPr/>
      <dgm:t>
        <a:bodyPr/>
        <a:lstStyle/>
        <a:p>
          <a:endParaRPr lang="en-IN"/>
        </a:p>
      </dgm:t>
    </dgm:pt>
    <dgm:pt modelId="{5CF0EA77-A102-4486-AC03-586D981487AA}" type="sibTrans" cxnId="{F65D1810-718B-4C58-8662-D299CC3EC8DB}">
      <dgm:prSet/>
      <dgm:spPr/>
      <dgm:t>
        <a:bodyPr/>
        <a:lstStyle/>
        <a:p>
          <a:endParaRPr lang="en-IN"/>
        </a:p>
      </dgm:t>
    </dgm:pt>
    <dgm:pt modelId="{28655373-9B2B-49E9-A3CF-8B29EA622DB7}">
      <dgm:prSet phldrT="[Text]" custT="1"/>
      <dgm:spPr/>
      <dgm:t>
        <a:bodyPr/>
        <a:lstStyle/>
        <a:p>
          <a:r>
            <a:rPr lang="en-IN" sz="3200" dirty="0">
              <a:latin typeface="Calibri" panose="020F0502020204030204" pitchFamily="34" charset="0"/>
              <a:cs typeface="Calibri" panose="020F0502020204030204" pitchFamily="34" charset="0"/>
            </a:rPr>
            <a:t>4. Record Observations</a:t>
          </a:r>
        </a:p>
      </dgm:t>
    </dgm:pt>
    <dgm:pt modelId="{C0EEF1EC-E4C2-42D5-9AFD-E48DB2B2A232}" type="parTrans" cxnId="{A256F544-8B59-4FF2-9DE6-4EF7FDA3E87C}">
      <dgm:prSet/>
      <dgm:spPr/>
      <dgm:t>
        <a:bodyPr/>
        <a:lstStyle/>
        <a:p>
          <a:endParaRPr lang="en-IN"/>
        </a:p>
      </dgm:t>
    </dgm:pt>
    <dgm:pt modelId="{6F618501-5E5E-4A51-B8B6-80649DC38FC2}" type="sibTrans" cxnId="{A256F544-8B59-4FF2-9DE6-4EF7FDA3E87C}">
      <dgm:prSet/>
      <dgm:spPr/>
      <dgm:t>
        <a:bodyPr/>
        <a:lstStyle/>
        <a:p>
          <a:endParaRPr lang="en-IN"/>
        </a:p>
      </dgm:t>
    </dgm:pt>
    <dgm:pt modelId="{48E730A2-C745-471C-9A3A-2016C6076706}">
      <dgm:prSet phldrT="[Text]" custT="1"/>
      <dgm:spPr/>
      <dgm:t>
        <a:bodyPr/>
        <a:lstStyle/>
        <a:p>
          <a:r>
            <a:rPr lang="en-IN" sz="3200" dirty="0">
              <a:latin typeface="Calibri" panose="020F0502020204030204" pitchFamily="34" charset="0"/>
              <a:cs typeface="Calibri" panose="020F0502020204030204" pitchFamily="34" charset="0"/>
            </a:rPr>
            <a:t>5. Go through test scenarios</a:t>
          </a:r>
        </a:p>
      </dgm:t>
    </dgm:pt>
    <dgm:pt modelId="{201CBA47-643D-49E8-BAEA-E1AA1B6211A3}" type="parTrans" cxnId="{53DC309A-E8BE-4331-BE43-5F3A14A8F960}">
      <dgm:prSet/>
      <dgm:spPr/>
      <dgm:t>
        <a:bodyPr/>
        <a:lstStyle/>
        <a:p>
          <a:endParaRPr lang="en-IN"/>
        </a:p>
      </dgm:t>
    </dgm:pt>
    <dgm:pt modelId="{A0010E11-E71F-48D9-99F2-0894FF8F3ACC}" type="sibTrans" cxnId="{53DC309A-E8BE-4331-BE43-5F3A14A8F960}">
      <dgm:prSet/>
      <dgm:spPr/>
      <dgm:t>
        <a:bodyPr/>
        <a:lstStyle/>
        <a:p>
          <a:endParaRPr lang="en-IN"/>
        </a:p>
      </dgm:t>
    </dgm:pt>
    <dgm:pt modelId="{B80AD1CE-C95E-455C-B6E3-B03D149C81A3}">
      <dgm:prSet phldrT="[Text]" custT="1"/>
      <dgm:spPr/>
      <dgm:t>
        <a:bodyPr/>
        <a:lstStyle/>
        <a:p>
          <a:r>
            <a:rPr lang="en-IN" sz="3200" dirty="0">
              <a:latin typeface="Calibri" panose="020F0502020204030204" pitchFamily="34" charset="0"/>
              <a:cs typeface="Calibri" panose="020F0502020204030204" pitchFamily="34" charset="0"/>
            </a:rPr>
            <a:t>6. Save file to folder</a:t>
          </a:r>
        </a:p>
      </dgm:t>
    </dgm:pt>
    <dgm:pt modelId="{2020B0BA-387B-443F-AC11-270A8E59D61E}" type="parTrans" cxnId="{9A47FA40-0D4A-4D6F-A9C8-ACC966BDF20A}">
      <dgm:prSet/>
      <dgm:spPr/>
      <dgm:t>
        <a:bodyPr/>
        <a:lstStyle/>
        <a:p>
          <a:endParaRPr lang="en-IN"/>
        </a:p>
      </dgm:t>
    </dgm:pt>
    <dgm:pt modelId="{163774C9-0A0E-45B9-B0F2-5460AFB98F9C}" type="sibTrans" cxnId="{9A47FA40-0D4A-4D6F-A9C8-ACC966BDF20A}">
      <dgm:prSet/>
      <dgm:spPr/>
      <dgm:t>
        <a:bodyPr/>
        <a:lstStyle/>
        <a:p>
          <a:endParaRPr lang="en-IN"/>
        </a:p>
      </dgm:t>
    </dgm:pt>
    <dgm:pt modelId="{B0E12030-3494-486B-AB23-98D4418069EB}" type="pres">
      <dgm:prSet presAssocID="{6C048BF5-6AEB-41B4-BBC5-30903735895C}" presName="Name0" presStyleCnt="0">
        <dgm:presLayoutVars>
          <dgm:dir/>
          <dgm:animLvl val="lvl"/>
          <dgm:resizeHandles val="exact"/>
        </dgm:presLayoutVars>
      </dgm:prSet>
      <dgm:spPr/>
    </dgm:pt>
    <dgm:pt modelId="{F42E9034-0E97-41D3-B6A5-FBE5F4B9D707}" type="pres">
      <dgm:prSet presAssocID="{B80AD1CE-C95E-455C-B6E3-B03D149C81A3}" presName="boxAndChildren" presStyleCnt="0"/>
      <dgm:spPr/>
    </dgm:pt>
    <dgm:pt modelId="{29DEAF01-DCD7-43F2-BEE3-9DA13CB5A1A9}" type="pres">
      <dgm:prSet presAssocID="{B80AD1CE-C95E-455C-B6E3-B03D149C81A3}" presName="parentTextBox" presStyleLbl="node1" presStyleIdx="0" presStyleCnt="6"/>
      <dgm:spPr/>
    </dgm:pt>
    <dgm:pt modelId="{4B4C4E40-66CF-4067-B788-31C6774C461D}" type="pres">
      <dgm:prSet presAssocID="{A0010E11-E71F-48D9-99F2-0894FF8F3ACC}" presName="sp" presStyleCnt="0"/>
      <dgm:spPr/>
    </dgm:pt>
    <dgm:pt modelId="{33DBB4AB-F53E-4348-8F4A-266C1F56BF99}" type="pres">
      <dgm:prSet presAssocID="{48E730A2-C745-471C-9A3A-2016C6076706}" presName="arrowAndChildren" presStyleCnt="0"/>
      <dgm:spPr/>
    </dgm:pt>
    <dgm:pt modelId="{8E588BA7-5107-453D-875B-ED9B3709ABDC}" type="pres">
      <dgm:prSet presAssocID="{48E730A2-C745-471C-9A3A-2016C6076706}" presName="parentTextArrow" presStyleLbl="node1" presStyleIdx="1" presStyleCnt="6"/>
      <dgm:spPr/>
    </dgm:pt>
    <dgm:pt modelId="{D26DAD1C-599D-4E3B-AFC3-60E75FD5DFE1}" type="pres">
      <dgm:prSet presAssocID="{6F618501-5E5E-4A51-B8B6-80649DC38FC2}" presName="sp" presStyleCnt="0"/>
      <dgm:spPr/>
    </dgm:pt>
    <dgm:pt modelId="{6A2B123E-BD82-4373-A49A-91C4E128ADA3}" type="pres">
      <dgm:prSet presAssocID="{28655373-9B2B-49E9-A3CF-8B29EA622DB7}" presName="arrowAndChildren" presStyleCnt="0"/>
      <dgm:spPr/>
    </dgm:pt>
    <dgm:pt modelId="{E00E7680-E3DD-4682-A7CE-9488C7D0EEA2}" type="pres">
      <dgm:prSet presAssocID="{28655373-9B2B-49E9-A3CF-8B29EA622DB7}" presName="parentTextArrow" presStyleLbl="node1" presStyleIdx="2" presStyleCnt="6"/>
      <dgm:spPr/>
    </dgm:pt>
    <dgm:pt modelId="{A3764E90-9D25-477C-8DD3-2AC315320833}" type="pres">
      <dgm:prSet presAssocID="{5CF0EA77-A102-4486-AC03-586D981487AA}" presName="sp" presStyleCnt="0"/>
      <dgm:spPr/>
    </dgm:pt>
    <dgm:pt modelId="{A86270D7-4764-44E2-A6A1-5C25781BA1D4}" type="pres">
      <dgm:prSet presAssocID="{48FF571D-0680-4560-9694-268610AD7881}" presName="arrowAndChildren" presStyleCnt="0"/>
      <dgm:spPr/>
    </dgm:pt>
    <dgm:pt modelId="{7700E543-8C36-4739-90FF-34B0E332C142}" type="pres">
      <dgm:prSet presAssocID="{48FF571D-0680-4560-9694-268610AD7881}" presName="parentTextArrow" presStyleLbl="node1" presStyleIdx="3" presStyleCnt="6"/>
      <dgm:spPr/>
    </dgm:pt>
    <dgm:pt modelId="{038794B1-4683-45F7-ADD7-70BE609467C6}" type="pres">
      <dgm:prSet presAssocID="{E19B35B7-08F0-40DB-85BC-22C7A9691965}" presName="sp" presStyleCnt="0"/>
      <dgm:spPr/>
    </dgm:pt>
    <dgm:pt modelId="{97E10A9A-4A6B-45C0-A5F2-6B53789D84D9}" type="pres">
      <dgm:prSet presAssocID="{A78AEFBF-1BE3-44B3-8B73-CFFA50874DB2}" presName="arrowAndChildren" presStyleCnt="0"/>
      <dgm:spPr/>
    </dgm:pt>
    <dgm:pt modelId="{033F8BD5-58DF-4582-BC90-62ABAF5BB845}" type="pres">
      <dgm:prSet presAssocID="{A78AEFBF-1BE3-44B3-8B73-CFFA50874DB2}" presName="parentTextArrow" presStyleLbl="node1" presStyleIdx="4" presStyleCnt="6"/>
      <dgm:spPr/>
    </dgm:pt>
    <dgm:pt modelId="{F2F92687-C566-4A57-9C20-ABF936CB8981}" type="pres">
      <dgm:prSet presAssocID="{4BDEB55F-4C6E-4A01-839B-3BF2537C72C1}" presName="sp" presStyleCnt="0"/>
      <dgm:spPr/>
    </dgm:pt>
    <dgm:pt modelId="{55C1BA6A-3A7C-44C0-9C7E-7329EFECC4F3}" type="pres">
      <dgm:prSet presAssocID="{4A2BBBA9-E9F5-4E38-89ED-0896B1FE4572}" presName="arrowAndChildren" presStyleCnt="0"/>
      <dgm:spPr/>
    </dgm:pt>
    <dgm:pt modelId="{865EA37B-3607-410B-90DA-9BF5D2134BE4}" type="pres">
      <dgm:prSet presAssocID="{4A2BBBA9-E9F5-4E38-89ED-0896B1FE4572}" presName="parentTextArrow" presStyleLbl="node1" presStyleIdx="5" presStyleCnt="6"/>
      <dgm:spPr/>
    </dgm:pt>
  </dgm:ptLst>
  <dgm:cxnLst>
    <dgm:cxn modelId="{91954B09-0E34-499E-99DD-0C590FAC8429}" srcId="{6C048BF5-6AEB-41B4-BBC5-30903735895C}" destId="{A78AEFBF-1BE3-44B3-8B73-CFFA50874DB2}" srcOrd="1" destOrd="0" parTransId="{06F081D9-8F2A-4477-9291-2B04F702099D}" sibTransId="{E19B35B7-08F0-40DB-85BC-22C7A9691965}"/>
    <dgm:cxn modelId="{E472100C-A0DA-411B-A2F6-C57C982264C9}" type="presOf" srcId="{A78AEFBF-1BE3-44B3-8B73-CFFA50874DB2}" destId="{033F8BD5-58DF-4582-BC90-62ABAF5BB845}" srcOrd="0" destOrd="0" presId="urn:microsoft.com/office/officeart/2005/8/layout/process4"/>
    <dgm:cxn modelId="{F65D1810-718B-4C58-8662-D299CC3EC8DB}" srcId="{6C048BF5-6AEB-41B4-BBC5-30903735895C}" destId="{48FF571D-0680-4560-9694-268610AD7881}" srcOrd="2" destOrd="0" parTransId="{882A0517-F394-4A40-8099-DFE230058009}" sibTransId="{5CF0EA77-A102-4486-AC03-586D981487AA}"/>
    <dgm:cxn modelId="{5DDD8118-079F-49DF-8B53-A560C3B4CECE}" type="presOf" srcId="{28655373-9B2B-49E9-A3CF-8B29EA622DB7}" destId="{E00E7680-E3DD-4682-A7CE-9488C7D0EEA2}" srcOrd="0" destOrd="0" presId="urn:microsoft.com/office/officeart/2005/8/layout/process4"/>
    <dgm:cxn modelId="{9A47FA40-0D4A-4D6F-A9C8-ACC966BDF20A}" srcId="{6C048BF5-6AEB-41B4-BBC5-30903735895C}" destId="{B80AD1CE-C95E-455C-B6E3-B03D149C81A3}" srcOrd="5" destOrd="0" parTransId="{2020B0BA-387B-443F-AC11-270A8E59D61E}" sibTransId="{163774C9-0A0E-45B9-B0F2-5460AFB98F9C}"/>
    <dgm:cxn modelId="{A256F544-8B59-4FF2-9DE6-4EF7FDA3E87C}" srcId="{6C048BF5-6AEB-41B4-BBC5-30903735895C}" destId="{28655373-9B2B-49E9-A3CF-8B29EA622DB7}" srcOrd="3" destOrd="0" parTransId="{C0EEF1EC-E4C2-42D5-9AFD-E48DB2B2A232}" sibTransId="{6F618501-5E5E-4A51-B8B6-80649DC38FC2}"/>
    <dgm:cxn modelId="{03F1AD4B-74EA-4F44-9547-3B042F34224E}" type="presOf" srcId="{4A2BBBA9-E9F5-4E38-89ED-0896B1FE4572}" destId="{865EA37B-3607-410B-90DA-9BF5D2134BE4}" srcOrd="0" destOrd="0" presId="urn:microsoft.com/office/officeart/2005/8/layout/process4"/>
    <dgm:cxn modelId="{0CE76498-3870-4A09-8A23-B4889F368122}" type="presOf" srcId="{48FF571D-0680-4560-9694-268610AD7881}" destId="{7700E543-8C36-4739-90FF-34B0E332C142}" srcOrd="0" destOrd="0" presId="urn:microsoft.com/office/officeart/2005/8/layout/process4"/>
    <dgm:cxn modelId="{53DC309A-E8BE-4331-BE43-5F3A14A8F960}" srcId="{6C048BF5-6AEB-41B4-BBC5-30903735895C}" destId="{48E730A2-C745-471C-9A3A-2016C6076706}" srcOrd="4" destOrd="0" parTransId="{201CBA47-643D-49E8-BAEA-E1AA1B6211A3}" sibTransId="{A0010E11-E71F-48D9-99F2-0894FF8F3ACC}"/>
    <dgm:cxn modelId="{445C16C9-1B7A-47B4-A8D4-BFB8319AE6C1}" type="presOf" srcId="{48E730A2-C745-471C-9A3A-2016C6076706}" destId="{8E588BA7-5107-453D-875B-ED9B3709ABDC}" srcOrd="0" destOrd="0" presId="urn:microsoft.com/office/officeart/2005/8/layout/process4"/>
    <dgm:cxn modelId="{96A0E1CD-F586-4844-8BCA-6D85FFD7933F}" srcId="{6C048BF5-6AEB-41B4-BBC5-30903735895C}" destId="{4A2BBBA9-E9F5-4E38-89ED-0896B1FE4572}" srcOrd="0" destOrd="0" parTransId="{90292453-D652-4935-80B1-635FA7A30422}" sibTransId="{4BDEB55F-4C6E-4A01-839B-3BF2537C72C1}"/>
    <dgm:cxn modelId="{F6B818DC-C9FC-4C08-9927-0A3B1D30E9E6}" type="presOf" srcId="{6C048BF5-6AEB-41B4-BBC5-30903735895C}" destId="{B0E12030-3494-486B-AB23-98D4418069EB}" srcOrd="0" destOrd="0" presId="urn:microsoft.com/office/officeart/2005/8/layout/process4"/>
    <dgm:cxn modelId="{293D3CEC-F71C-4295-B59E-D9328E92E1C8}" type="presOf" srcId="{B80AD1CE-C95E-455C-B6E3-B03D149C81A3}" destId="{29DEAF01-DCD7-43F2-BEE3-9DA13CB5A1A9}" srcOrd="0" destOrd="0" presId="urn:microsoft.com/office/officeart/2005/8/layout/process4"/>
    <dgm:cxn modelId="{766F3117-903C-4228-A49E-A5A28A0F6814}" type="presParOf" srcId="{B0E12030-3494-486B-AB23-98D4418069EB}" destId="{F42E9034-0E97-41D3-B6A5-FBE5F4B9D707}" srcOrd="0" destOrd="0" presId="urn:microsoft.com/office/officeart/2005/8/layout/process4"/>
    <dgm:cxn modelId="{DFC1BFB4-ED81-4373-BB37-E35B47D7F835}" type="presParOf" srcId="{F42E9034-0E97-41D3-B6A5-FBE5F4B9D707}" destId="{29DEAF01-DCD7-43F2-BEE3-9DA13CB5A1A9}" srcOrd="0" destOrd="0" presId="urn:microsoft.com/office/officeart/2005/8/layout/process4"/>
    <dgm:cxn modelId="{817C395B-4A34-4B03-A465-962777BAF454}" type="presParOf" srcId="{B0E12030-3494-486B-AB23-98D4418069EB}" destId="{4B4C4E40-66CF-4067-B788-31C6774C461D}" srcOrd="1" destOrd="0" presId="urn:microsoft.com/office/officeart/2005/8/layout/process4"/>
    <dgm:cxn modelId="{2080821A-6D2F-4170-816F-39DADF57D73D}" type="presParOf" srcId="{B0E12030-3494-486B-AB23-98D4418069EB}" destId="{33DBB4AB-F53E-4348-8F4A-266C1F56BF99}" srcOrd="2" destOrd="0" presId="urn:microsoft.com/office/officeart/2005/8/layout/process4"/>
    <dgm:cxn modelId="{1FE2E364-9724-43A5-827F-7FCC5D4D090B}" type="presParOf" srcId="{33DBB4AB-F53E-4348-8F4A-266C1F56BF99}" destId="{8E588BA7-5107-453D-875B-ED9B3709ABDC}" srcOrd="0" destOrd="0" presId="urn:microsoft.com/office/officeart/2005/8/layout/process4"/>
    <dgm:cxn modelId="{7991F375-20F3-4726-A657-C9F4A630EF3E}" type="presParOf" srcId="{B0E12030-3494-486B-AB23-98D4418069EB}" destId="{D26DAD1C-599D-4E3B-AFC3-60E75FD5DFE1}" srcOrd="3" destOrd="0" presId="urn:microsoft.com/office/officeart/2005/8/layout/process4"/>
    <dgm:cxn modelId="{68AE2B75-C1CF-4EDF-BA30-A39505299B56}" type="presParOf" srcId="{B0E12030-3494-486B-AB23-98D4418069EB}" destId="{6A2B123E-BD82-4373-A49A-91C4E128ADA3}" srcOrd="4" destOrd="0" presId="urn:microsoft.com/office/officeart/2005/8/layout/process4"/>
    <dgm:cxn modelId="{E7F4B175-7F61-4E58-A980-63127E533DB0}" type="presParOf" srcId="{6A2B123E-BD82-4373-A49A-91C4E128ADA3}" destId="{E00E7680-E3DD-4682-A7CE-9488C7D0EEA2}" srcOrd="0" destOrd="0" presId="urn:microsoft.com/office/officeart/2005/8/layout/process4"/>
    <dgm:cxn modelId="{ED891A44-B6EE-424F-BC88-526C31229023}" type="presParOf" srcId="{B0E12030-3494-486B-AB23-98D4418069EB}" destId="{A3764E90-9D25-477C-8DD3-2AC315320833}" srcOrd="5" destOrd="0" presId="urn:microsoft.com/office/officeart/2005/8/layout/process4"/>
    <dgm:cxn modelId="{07062BE2-A4A9-4019-9EBA-A2F1195BDEAF}" type="presParOf" srcId="{B0E12030-3494-486B-AB23-98D4418069EB}" destId="{A86270D7-4764-44E2-A6A1-5C25781BA1D4}" srcOrd="6" destOrd="0" presId="urn:microsoft.com/office/officeart/2005/8/layout/process4"/>
    <dgm:cxn modelId="{1CAEFB75-9612-4389-BBDF-57D7BB50B665}" type="presParOf" srcId="{A86270D7-4764-44E2-A6A1-5C25781BA1D4}" destId="{7700E543-8C36-4739-90FF-34B0E332C142}" srcOrd="0" destOrd="0" presId="urn:microsoft.com/office/officeart/2005/8/layout/process4"/>
    <dgm:cxn modelId="{42A96E0A-ECA2-4542-927D-BB5F827AA1A1}" type="presParOf" srcId="{B0E12030-3494-486B-AB23-98D4418069EB}" destId="{038794B1-4683-45F7-ADD7-70BE609467C6}" srcOrd="7" destOrd="0" presId="urn:microsoft.com/office/officeart/2005/8/layout/process4"/>
    <dgm:cxn modelId="{BFB44D23-26FB-4DEF-8E97-E05CDC198DF6}" type="presParOf" srcId="{B0E12030-3494-486B-AB23-98D4418069EB}" destId="{97E10A9A-4A6B-45C0-A5F2-6B53789D84D9}" srcOrd="8" destOrd="0" presId="urn:microsoft.com/office/officeart/2005/8/layout/process4"/>
    <dgm:cxn modelId="{764E554F-7594-4C19-864A-7C51C2342DC1}" type="presParOf" srcId="{97E10A9A-4A6B-45C0-A5F2-6B53789D84D9}" destId="{033F8BD5-58DF-4582-BC90-62ABAF5BB845}" srcOrd="0" destOrd="0" presId="urn:microsoft.com/office/officeart/2005/8/layout/process4"/>
    <dgm:cxn modelId="{24CAA843-948D-4DFD-8122-5D597EDE2121}" type="presParOf" srcId="{B0E12030-3494-486B-AB23-98D4418069EB}" destId="{F2F92687-C566-4A57-9C20-ABF936CB8981}" srcOrd="9" destOrd="0" presId="urn:microsoft.com/office/officeart/2005/8/layout/process4"/>
    <dgm:cxn modelId="{0D4AA488-3465-4F69-82B5-B86D77CC329F}" type="presParOf" srcId="{B0E12030-3494-486B-AB23-98D4418069EB}" destId="{55C1BA6A-3A7C-44C0-9C7E-7329EFECC4F3}" srcOrd="10" destOrd="0" presId="urn:microsoft.com/office/officeart/2005/8/layout/process4"/>
    <dgm:cxn modelId="{9E573B52-0123-4007-8B05-06764D6B7A13}" type="presParOf" srcId="{55C1BA6A-3A7C-44C0-9C7E-7329EFECC4F3}" destId="{865EA37B-3607-410B-90DA-9BF5D2134BE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DEAF01-DCD7-43F2-BEE3-9DA13CB5A1A9}">
      <dsp:nvSpPr>
        <dsp:cNvPr id="0" name=""/>
        <dsp:cNvSpPr/>
      </dsp:nvSpPr>
      <dsp:spPr>
        <a:xfrm>
          <a:off x="0" y="4401288"/>
          <a:ext cx="9543256" cy="57766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latin typeface="Calibri" panose="020F0502020204030204" pitchFamily="34" charset="0"/>
              <a:cs typeface="Calibri" panose="020F0502020204030204" pitchFamily="34" charset="0"/>
            </a:rPr>
            <a:t>6. Save file to folder</a:t>
          </a:r>
        </a:p>
      </dsp:txBody>
      <dsp:txXfrm>
        <a:off x="0" y="4401288"/>
        <a:ext cx="9543256" cy="577666"/>
      </dsp:txXfrm>
    </dsp:sp>
    <dsp:sp modelId="{8E588BA7-5107-453D-875B-ED9B3709ABDC}">
      <dsp:nvSpPr>
        <dsp:cNvPr id="0" name=""/>
        <dsp:cNvSpPr/>
      </dsp:nvSpPr>
      <dsp:spPr>
        <a:xfrm rot="10800000">
          <a:off x="0" y="3521501"/>
          <a:ext cx="9543256" cy="888451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latin typeface="Calibri" panose="020F0502020204030204" pitchFamily="34" charset="0"/>
              <a:cs typeface="Calibri" panose="020F0502020204030204" pitchFamily="34" charset="0"/>
            </a:rPr>
            <a:t>5. Go through test scenarios</a:t>
          </a:r>
        </a:p>
      </dsp:txBody>
      <dsp:txXfrm rot="10800000">
        <a:off x="0" y="3521501"/>
        <a:ext cx="9543256" cy="577289"/>
      </dsp:txXfrm>
    </dsp:sp>
    <dsp:sp modelId="{E00E7680-E3DD-4682-A7CE-9488C7D0EEA2}">
      <dsp:nvSpPr>
        <dsp:cNvPr id="0" name=""/>
        <dsp:cNvSpPr/>
      </dsp:nvSpPr>
      <dsp:spPr>
        <a:xfrm rot="10800000">
          <a:off x="0" y="2641715"/>
          <a:ext cx="9543256" cy="888451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latin typeface="Calibri" panose="020F0502020204030204" pitchFamily="34" charset="0"/>
              <a:cs typeface="Calibri" panose="020F0502020204030204" pitchFamily="34" charset="0"/>
            </a:rPr>
            <a:t>4. Record Observations</a:t>
          </a:r>
        </a:p>
      </dsp:txBody>
      <dsp:txXfrm rot="10800000">
        <a:off x="0" y="2641715"/>
        <a:ext cx="9543256" cy="577289"/>
      </dsp:txXfrm>
    </dsp:sp>
    <dsp:sp modelId="{7700E543-8C36-4739-90FF-34B0E332C142}">
      <dsp:nvSpPr>
        <dsp:cNvPr id="0" name=""/>
        <dsp:cNvSpPr/>
      </dsp:nvSpPr>
      <dsp:spPr>
        <a:xfrm rot="10800000">
          <a:off x="0" y="1761928"/>
          <a:ext cx="9543256" cy="888451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latin typeface="Calibri" panose="020F0502020204030204" pitchFamily="34" charset="0"/>
              <a:cs typeface="Calibri" panose="020F0502020204030204" pitchFamily="34" charset="0"/>
            </a:rPr>
            <a:t>3. User Testing</a:t>
          </a:r>
        </a:p>
      </dsp:txBody>
      <dsp:txXfrm rot="10800000">
        <a:off x="0" y="1761928"/>
        <a:ext cx="9543256" cy="577289"/>
      </dsp:txXfrm>
    </dsp:sp>
    <dsp:sp modelId="{033F8BD5-58DF-4582-BC90-62ABAF5BB845}">
      <dsp:nvSpPr>
        <dsp:cNvPr id="0" name=""/>
        <dsp:cNvSpPr/>
      </dsp:nvSpPr>
      <dsp:spPr>
        <a:xfrm rot="10800000">
          <a:off x="0" y="882142"/>
          <a:ext cx="9543256" cy="888451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latin typeface="Calibri" panose="020F0502020204030204" pitchFamily="34" charset="0"/>
              <a:cs typeface="Calibri" panose="020F0502020204030204" pitchFamily="34" charset="0"/>
            </a:rPr>
            <a:t>2. Rename the File</a:t>
          </a:r>
        </a:p>
      </dsp:txBody>
      <dsp:txXfrm rot="10800000">
        <a:off x="0" y="882142"/>
        <a:ext cx="9543256" cy="577289"/>
      </dsp:txXfrm>
    </dsp:sp>
    <dsp:sp modelId="{865EA37B-3607-410B-90DA-9BF5D2134BE4}">
      <dsp:nvSpPr>
        <dsp:cNvPr id="0" name=""/>
        <dsp:cNvSpPr/>
      </dsp:nvSpPr>
      <dsp:spPr>
        <a:xfrm rot="10800000">
          <a:off x="0" y="2356"/>
          <a:ext cx="9543256" cy="888451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3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1. Create Local copy of Testing file</a:t>
          </a:r>
        </a:p>
      </dsp:txBody>
      <dsp:txXfrm rot="10800000">
        <a:off x="0" y="2356"/>
        <a:ext cx="9543256" cy="5772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905000" y="433388"/>
            <a:ext cx="5422900" cy="3051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6669" y="3726027"/>
            <a:ext cx="785713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28307" y="6628249"/>
            <a:ext cx="73145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59687" y="4025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818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14.png"/><Relationship Id="rId5" Type="http://schemas.openxmlformats.org/officeDocument/2006/relationships/tags" Target="../tags/tag26.xml"/><Relationship Id="rId10" Type="http://schemas.openxmlformats.org/officeDocument/2006/relationships/image" Target="../media/image13.emf"/><Relationship Id="rId4" Type="http://schemas.openxmlformats.org/officeDocument/2006/relationships/tags" Target="../tags/tag25.xml"/><Relationship Id="rId9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10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microsoft.com/office/2007/relationships/hdphoto" Target="../media/hdphoto1.wdp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5.png"/><Relationship Id="rId5" Type="http://schemas.openxmlformats.org/officeDocument/2006/relationships/tags" Target="../tags/tag40.xml"/><Relationship Id="rId10" Type="http://schemas.openxmlformats.org/officeDocument/2006/relationships/image" Target="../media/image12.emf"/><Relationship Id="rId4" Type="http://schemas.openxmlformats.org/officeDocument/2006/relationships/tags" Target="../tags/tag39.xml"/><Relationship Id="rId9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5" Type="http://schemas.openxmlformats.org/officeDocument/2006/relationships/image" Target="../media/image21.jpeg"/><Relationship Id="rId4" Type="http://schemas.openxmlformats.org/officeDocument/2006/relationships/image" Target="../media/image1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4" Type="http://schemas.openxmlformats.org/officeDocument/2006/relationships/image" Target="../media/image1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6" Type="http://schemas.openxmlformats.org/officeDocument/2006/relationships/image" Target="../media/image22.jpeg"/><Relationship Id="rId5" Type="http://schemas.openxmlformats.org/officeDocument/2006/relationships/image" Target="../media/image27.png"/><Relationship Id="rId4" Type="http://schemas.openxmlformats.org/officeDocument/2006/relationships/image" Target="../media/image1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6" Type="http://schemas.openxmlformats.org/officeDocument/2006/relationships/image" Target="../media/image22.jpe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0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Relationship Id="rId6" Type="http://schemas.openxmlformats.org/officeDocument/2006/relationships/image" Target="../media/image22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Relationship Id="rId6" Type="http://schemas.openxmlformats.org/officeDocument/2006/relationships/image" Target="../media/image22.jpeg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6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5" Type="http://schemas.openxmlformats.org/officeDocument/2006/relationships/image" Target="../media/image14.png"/><Relationship Id="rId4" Type="http://schemas.openxmlformats.org/officeDocument/2006/relationships/image" Target="../media/image20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4" Type="http://schemas.openxmlformats.org/officeDocument/2006/relationships/image" Target="../media/image16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6" Type="http://schemas.openxmlformats.org/officeDocument/2006/relationships/image" Target="../media/image22.jpeg"/><Relationship Id="rId5" Type="http://schemas.openxmlformats.org/officeDocument/2006/relationships/image" Target="../media/image23.png"/><Relationship Id="rId4" Type="http://schemas.openxmlformats.org/officeDocument/2006/relationships/image" Target="../media/image19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22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9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6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6" Type="http://schemas.openxmlformats.org/officeDocument/2006/relationships/image" Target="../media/image18.jpeg"/><Relationship Id="rId5" Type="http://schemas.openxmlformats.org/officeDocument/2006/relationships/image" Target="../media/image22.jpeg"/><Relationship Id="rId4" Type="http://schemas.openxmlformats.org/officeDocument/2006/relationships/image" Target="../media/image1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82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C6BF33-354D-407F-8B91-43FC086CC1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1044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65405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62615" y="3156483"/>
            <a:ext cx="1300698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042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590890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7449" y="2515666"/>
            <a:ext cx="2763232" cy="16901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766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4734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30909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416356115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42009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648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2576673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74795" y="555986"/>
            <a:ext cx="11189614" cy="475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17999" y="5229903"/>
            <a:ext cx="10669508" cy="445096"/>
          </a:xfrm>
        </p:spPr>
        <p:txBody>
          <a:bodyPr lIns="0" tIns="0" rIns="0" bIns="0" anchor="ctr"/>
          <a:lstStyle>
            <a:lvl1pPr algn="l">
              <a:defRPr sz="2800" b="1" i="0" spc="-15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17999" y="5725129"/>
            <a:ext cx="10669508" cy="30253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00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1" name="Group 30" hidden="1"/>
          <p:cNvGrpSpPr/>
          <p:nvPr userDrawn="1"/>
        </p:nvGrpSpPr>
        <p:grpSpPr>
          <a:xfrm>
            <a:off x="617999" y="1589840"/>
            <a:ext cx="10669508" cy="3058516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010923" y="1593274"/>
            <a:ext cx="2572227" cy="3050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 userDrawn="1"/>
        </p:nvSpPr>
        <p:spPr>
          <a:xfrm>
            <a:off x="9124296" y="6180137"/>
            <a:ext cx="2336903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90"/>
            <a:ext cx="11949113" cy="4874447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79" y="370711"/>
            <a:ext cx="11616261" cy="355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06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376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077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8116261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3350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724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94C4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127856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5974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91" b="0" i="0" u="none" strike="noStrike" kern="1200" cap="none" spc="0" normalizeH="0" baseline="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677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093373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41434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79212A-D808-4E4C-AFD3-B2461B3F2480}" type="datetimeFigureOut">
              <a:rPr kumimoji="0" lang="en-US" sz="88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/2023</a:t>
            </a:fld>
            <a:endParaRPr kumimoji="0" lang="en-US" sz="8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CAD0F2-EA76-4F9D-AB29-5FB0465148FC}" type="slidenum">
              <a:rPr kumimoji="0" lang="en-US" sz="1078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78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27010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-41189"/>
            <a:ext cx="11949113" cy="355874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4802" tIns="17920" rIns="44802" bIns="17920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35221" y="2428188"/>
            <a:ext cx="10973286" cy="592424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00" b="1" i="0" spc="-150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35222" y="3067799"/>
            <a:ext cx="10996320" cy="40267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3064" y="5943600"/>
            <a:ext cx="3118477" cy="2286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041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171911" y="6320921"/>
            <a:ext cx="588476" cy="1942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2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BF0B4E-CE60-AB48-9D7E-4434414A7C38}" type="slidenum">
              <a:rPr kumimoji="0" lang="en-US" sz="66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6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07350" y="1204981"/>
            <a:ext cx="10771526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3524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30F00B3C-0CA5-4CD0-9B0F-F40ADEDA46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3232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4A8C8AD-A4F6-464F-8E63-91E8672526A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1949113" cy="6722781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911923" y="4365947"/>
            <a:ext cx="7707472" cy="2413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68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13041" y="3412269"/>
            <a:ext cx="7707472" cy="2714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764" dirty="0">
                <a:solidFill>
                  <a:schemeClr val="accent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911923" y="2683117"/>
            <a:ext cx="7708590" cy="4223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744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1D4600A2-6D63-4170-A663-3C39E912643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913041" y="1334960"/>
            <a:ext cx="3513164" cy="6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4725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Do not remove" hidden="1">
            <a:extLst>
              <a:ext uri="{FF2B5EF4-FFF2-40B4-BE49-F238E27FC236}">
                <a16:creationId xmlns:a16="http://schemas.microsoft.com/office/drawing/2014/main" id="{8DE9B7CB-BE05-41F1-9C27-DF59F0C70E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71175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3685" y="168784"/>
            <a:ext cx="10861744" cy="71695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3685" y="988473"/>
            <a:ext cx="10861744" cy="271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64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44185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id="{B8142393-9EE8-46E6-A2B4-83393AB695B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3478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50690EC0-D9FB-4CB9-A37A-E08A03D73065}"/>
              </a:ext>
            </a:extLst>
          </p:cNvPr>
          <p:cNvSpPr/>
          <p:nvPr userDrawn="1"/>
        </p:nvSpPr>
        <p:spPr bwMode="ltGray">
          <a:xfrm>
            <a:off x="3113" y="0"/>
            <a:ext cx="11946000" cy="672147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AU" sz="1568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4312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5241" y="3028923"/>
            <a:ext cx="10861744" cy="663629"/>
          </a:xfrm>
        </p:spPr>
        <p:txBody>
          <a:bodyPr vert="horz" anchor="ctr">
            <a:noAutofit/>
          </a:bodyPr>
          <a:lstStyle>
            <a:lvl1pPr algn="ctr">
              <a:lnSpc>
                <a:spcPct val="100000"/>
              </a:lnSpc>
              <a:defRPr sz="431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43683" y="40769"/>
            <a:ext cx="3766772" cy="12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84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851F2F3-17BC-4E29-9904-F351E5A5C75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  <p:pic>
        <p:nvPicPr>
          <p:cNvPr id="13" name="Picture 528" descr="Bausch + Lomb Logo : Bausch + Lomb">
            <a:extLst>
              <a:ext uri="{FF2B5EF4-FFF2-40B4-BE49-F238E27FC236}">
                <a16:creationId xmlns:a16="http://schemas.microsoft.com/office/drawing/2014/main" id="{33E6809A-3CE5-4E9E-A7DF-B72E29F81900}"/>
              </a:ext>
            </a:extLst>
          </p:cNvPr>
          <p:cNvPicPr>
            <a:picLocks noChangeArrowheads="1"/>
          </p:cNvPicPr>
          <p:nvPr userDrawn="1"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249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o not remove" hidden="1">
            <a:extLst>
              <a:ext uri="{FF2B5EF4-FFF2-40B4-BE49-F238E27FC236}">
                <a16:creationId xmlns:a16="http://schemas.microsoft.com/office/drawing/2014/main" id="{440B3F61-5F56-4CC8-985D-9775E56603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447" cy="12447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94"/>
              </a:spcBef>
              <a:spcAft>
                <a:spcPts val="294"/>
              </a:spcAft>
            </a:pPr>
            <a:endParaRPr lang="en-US" sz="1568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76098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4" y="6182674"/>
            <a:ext cx="7132873" cy="12066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4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416077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4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95900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29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9732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82449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7">
            <a:extLst>
              <a:ext uri="{FF2B5EF4-FFF2-40B4-BE49-F238E27FC236}">
                <a16:creationId xmlns:a16="http://schemas.microsoft.com/office/drawing/2014/main" id="{21C109CC-1434-4CF4-9ACF-D207B482634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1252081" y="6531489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[ </a:t>
            </a:r>
            <a:fld id="{AAF8A1FE-E77A-4F04-AB42-5E85A63CE2E6}" type="slidenum">
              <a:rPr kumimoji="0" lang="en-US" altLang="en-US" sz="104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]</a:t>
            </a:r>
          </a:p>
        </p:txBody>
      </p:sp>
      <p:sp>
        <p:nvSpPr>
          <p:cNvPr id="6" name="Text Box 88">
            <a:extLst>
              <a:ext uri="{FF2B5EF4-FFF2-40B4-BE49-F238E27FC236}">
                <a16:creationId xmlns:a16="http://schemas.microsoft.com/office/drawing/2014/main" id="{4C8476D7-CDD0-46CE-B661-B08CC0C5EF0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8663107" y="6531489"/>
            <a:ext cx="2624242" cy="160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4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CONFIDENTIAL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551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54503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06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88396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319171"/>
            <a:ext cx="11170775" cy="1528232"/>
          </a:xfr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5227" b="1" cap="all" dirty="0">
                <a:latin typeface="Arial"/>
                <a:cs typeface="ＭＳ Ｐゴシック" charset="0"/>
              </a:defRPr>
            </a:lvl1pPr>
          </a:lstStyle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3648908"/>
            <a:ext cx="11170775" cy="38215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614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 charset="0"/>
              </a:defRPr>
            </a:lvl1pPr>
          </a:lstStyle>
          <a:p>
            <a:pPr marR="0" lv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25000"/>
              </a:spcAft>
              <a:buClr>
                <a:srgbClr val="72CE9B"/>
              </a:buClr>
              <a:buSzPct val="75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33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95806" y="1780940"/>
            <a:ext cx="10818511" cy="4143353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3"/>
            <a:ext cx="10803990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7881" y="1098684"/>
            <a:ext cx="10816436" cy="501517"/>
          </a:xfrm>
        </p:spPr>
        <p:txBody>
          <a:bodyPr/>
          <a:lstStyle>
            <a:lvl1pPr marL="0" indent="0">
              <a:buNone/>
              <a:defRPr sz="2000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27510136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14926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437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1317" y="1792394"/>
            <a:ext cx="5483835" cy="3171341"/>
          </a:xfrm>
        </p:spPr>
        <p:txBody>
          <a:bodyPr/>
          <a:lstStyle>
            <a:lvl1pPr>
              <a:defRPr sz="2352"/>
            </a:lvl1pPr>
            <a:lvl2pPr>
              <a:defRPr sz="2352"/>
            </a:lvl2pPr>
            <a:lvl3pPr>
              <a:defRPr sz="2352"/>
            </a:lvl3pPr>
            <a:lvl4pPr>
              <a:defRPr sz="2352"/>
            </a:lvl4pPr>
            <a:lvl5pPr>
              <a:defRPr sz="2352"/>
            </a:lvl5pPr>
            <a:lvl6pPr>
              <a:defRPr sz="2352"/>
            </a:lvl6pPr>
            <a:lvl7pPr>
              <a:defRPr sz="2352"/>
            </a:lvl7pPr>
            <a:lvl8pPr>
              <a:defRPr sz="2352"/>
            </a:lvl8pPr>
            <a:lvl9pPr>
              <a:defRPr sz="235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640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40513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437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437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1317" y="1093905"/>
            <a:ext cx="5483835" cy="1037675"/>
          </a:xfrm>
        </p:spPr>
        <p:txBody>
          <a:bodyPr anchor="b"/>
          <a:lstStyle>
            <a:lvl1pPr marL="0" indent="0">
              <a:buNone/>
              <a:defRPr sz="2744" b="1"/>
            </a:lvl1pPr>
            <a:lvl2pPr marL="597454" indent="0">
              <a:buNone/>
              <a:defRPr sz="2614" b="1"/>
            </a:lvl2pPr>
            <a:lvl3pPr marL="1194909" indent="0">
              <a:buNone/>
              <a:defRPr sz="2352" b="1"/>
            </a:lvl3pPr>
            <a:lvl4pPr marL="1792362" indent="0">
              <a:buNone/>
              <a:defRPr sz="2091" b="1"/>
            </a:lvl4pPr>
            <a:lvl5pPr marL="2389816" indent="0">
              <a:buNone/>
              <a:defRPr sz="2091" b="1"/>
            </a:lvl5pPr>
            <a:lvl6pPr marL="2987270" indent="0">
              <a:buNone/>
              <a:defRPr sz="2091" b="1"/>
            </a:lvl6pPr>
            <a:lvl7pPr marL="3584725" indent="0">
              <a:buNone/>
              <a:defRPr sz="2091" b="1"/>
            </a:lvl7pPr>
            <a:lvl8pPr marL="4182178" indent="0">
              <a:buNone/>
              <a:defRPr sz="2091" b="1"/>
            </a:lvl8pPr>
            <a:lvl9pPr marL="4779632" indent="0">
              <a:buNone/>
              <a:defRPr sz="2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71317" y="2131580"/>
            <a:ext cx="5483835" cy="2767132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091"/>
            </a:lvl6pPr>
            <a:lvl7pPr>
              <a:defRPr sz="2091"/>
            </a:lvl7pPr>
            <a:lvl8pPr>
              <a:defRPr sz="2091"/>
            </a:lvl8pPr>
            <a:lvl9pPr>
              <a:defRPr sz="2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496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87720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54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85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355512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1585543"/>
            <a:ext cx="4144257" cy="814580"/>
          </a:xfrm>
        </p:spPr>
        <p:txBody>
          <a:bodyPr vert="horz" lIns="0" tIns="0" rIns="0" bIns="0">
            <a:noAutofit/>
          </a:bodyPr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770" y="1585543"/>
            <a:ext cx="6883381" cy="3623817"/>
          </a:xfrm>
        </p:spPr>
        <p:txBody>
          <a:bodyPr/>
          <a:lstStyle>
            <a:lvl1pPr>
              <a:defRPr sz="1960"/>
            </a:lvl1pPr>
            <a:lvl2pPr>
              <a:defRPr sz="1960"/>
            </a:lvl2pPr>
            <a:lvl3pPr>
              <a:defRPr sz="1960"/>
            </a:lvl3pPr>
            <a:lvl4pPr>
              <a:defRPr sz="1960"/>
            </a:lvl4pPr>
            <a:lvl5pPr>
              <a:defRPr sz="1960"/>
            </a:lvl5pPr>
            <a:lvl6pPr>
              <a:defRPr sz="2614"/>
            </a:lvl6pPr>
            <a:lvl7pPr>
              <a:defRPr sz="2614"/>
            </a:lvl7pPr>
            <a:lvl8pPr>
              <a:defRPr sz="2614"/>
            </a:lvl8pPr>
            <a:lvl9pPr>
              <a:defRPr sz="261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2400125"/>
            <a:ext cx="4144257" cy="358021"/>
          </a:xfrm>
        </p:spPr>
        <p:txBody>
          <a:bodyPr lIns="0" tIns="0" rIns="0" bIns="0"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83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8025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377" y="4898448"/>
            <a:ext cx="11170775" cy="362043"/>
          </a:xfrm>
        </p:spPr>
        <p:txBody>
          <a:bodyPr vert="horz" lIns="0" tIns="0" rIns="0" bIns="0"/>
          <a:lstStyle>
            <a:lvl1pPr algn="l">
              <a:defRPr sz="261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4377" y="1356896"/>
            <a:ext cx="11170775" cy="3318545"/>
          </a:xfrm>
        </p:spPr>
        <p:txBody>
          <a:bodyPr/>
          <a:lstStyle>
            <a:lvl1pPr marL="0" indent="0">
              <a:buNone/>
              <a:defRPr sz="4182"/>
            </a:lvl1pPr>
            <a:lvl2pPr marL="597454" indent="0">
              <a:buNone/>
              <a:defRPr sz="3659"/>
            </a:lvl2pPr>
            <a:lvl3pPr marL="1194909" indent="0">
              <a:buNone/>
              <a:defRPr sz="3136"/>
            </a:lvl3pPr>
            <a:lvl4pPr marL="1792362" indent="0">
              <a:buNone/>
              <a:defRPr sz="2614"/>
            </a:lvl4pPr>
            <a:lvl5pPr marL="2389816" indent="0">
              <a:buNone/>
              <a:defRPr sz="2614"/>
            </a:lvl5pPr>
            <a:lvl6pPr marL="2987270" indent="0">
              <a:buNone/>
              <a:defRPr sz="2614"/>
            </a:lvl6pPr>
            <a:lvl7pPr marL="3584725" indent="0">
              <a:buNone/>
              <a:defRPr sz="2614"/>
            </a:lvl7pPr>
            <a:lvl8pPr marL="4182178" indent="0">
              <a:buNone/>
              <a:defRPr sz="2614"/>
            </a:lvl8pPr>
            <a:lvl9pPr marL="4779632" indent="0">
              <a:buNone/>
              <a:defRPr sz="2614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4377" y="5260489"/>
            <a:ext cx="11170775" cy="358021"/>
          </a:xfrm>
        </p:spPr>
        <p:txBody>
          <a:bodyPr/>
          <a:lstStyle>
            <a:lvl1pPr marL="0" indent="0">
              <a:buNone/>
              <a:defRPr sz="1830"/>
            </a:lvl1pPr>
            <a:lvl2pPr marL="597454" indent="0">
              <a:buNone/>
              <a:defRPr sz="1568"/>
            </a:lvl2pPr>
            <a:lvl3pPr marL="1194909" indent="0">
              <a:buNone/>
              <a:defRPr sz="1306"/>
            </a:lvl3pPr>
            <a:lvl4pPr marL="1792362" indent="0">
              <a:buNone/>
              <a:defRPr sz="1176"/>
            </a:lvl4pPr>
            <a:lvl5pPr marL="2389816" indent="0">
              <a:buNone/>
              <a:defRPr sz="1176"/>
            </a:lvl5pPr>
            <a:lvl6pPr marL="2987270" indent="0">
              <a:buNone/>
              <a:defRPr sz="1176"/>
            </a:lvl6pPr>
            <a:lvl7pPr marL="3584725" indent="0">
              <a:buNone/>
              <a:defRPr sz="1176"/>
            </a:lvl7pPr>
            <a:lvl8pPr marL="4182178" indent="0">
              <a:buNone/>
              <a:defRPr sz="1176"/>
            </a:lvl8pPr>
            <a:lvl9pPr marL="4779632" indent="0">
              <a:buNone/>
              <a:defRPr sz="117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3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092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6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744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191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49997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0" y="0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384377" y="1513531"/>
            <a:ext cx="3616694" cy="1466017"/>
          </a:xfrm>
          <a:noFill/>
          <a:effectLst/>
        </p:spPr>
        <p:txBody>
          <a:bodyPr vert="horz" wrap="square" lIns="0" tIns="0" rIns="0" bIns="0" anchor="b">
            <a:noAutofit/>
          </a:bodyPr>
          <a:lstStyle>
            <a:lvl1pPr>
              <a:defRPr sz="2940">
                <a:solidFill>
                  <a:srgbClr val="009AA6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23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solidFill>
              <a:schemeClr val="bg1"/>
            </a:solidFill>
          </a:ln>
          <a:effectLst/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132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4701" y="1096352"/>
            <a:ext cx="10833033" cy="5016212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1" y="277393"/>
            <a:ext cx="10816436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00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48009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3689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2614" y="3606756"/>
            <a:ext cx="11489637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036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33297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460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63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2920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3136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096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03286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32004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245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263374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38430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68724"/>
            <a:ext cx="6356163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929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69340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 baseline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29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21018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 sz="294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7545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7188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44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743342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64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2049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735373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717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576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6988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713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 w="1079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9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6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 userDrawn="1">
            <p:ph type="title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991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66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14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900"/>
            <a:ext cx="659691" cy="244367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49767" y="1039098"/>
            <a:ext cx="10654176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649767" y="600076"/>
            <a:ext cx="10654176" cy="2952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en-US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642605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810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85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362767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99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97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0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556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81006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0B482ABC-8F7A-430D-B346-03B1616C920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83886" y="2788208"/>
            <a:ext cx="7667348" cy="542969"/>
          </a:xfr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rgbClr val="000000">
                <a:alpha val="74998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noProof="0" dirty="0"/>
            </a:lvl1pPr>
          </a:lstStyle>
          <a:p>
            <a:pPr marL="0" marR="0" lvl="0" indent="0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 noProof="0"/>
              <a:t>Click to add title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83886" y="3659470"/>
            <a:ext cx="7567772" cy="452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352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ＭＳ Ｐゴシック"/>
              </a:defRPr>
            </a:lvl1pPr>
          </a:lstStyle>
          <a:p>
            <a:pPr marR="0"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2CE9B"/>
              </a:buClr>
              <a:buSzPct val="75000"/>
              <a:buFont typeface="Wingdings" charset="0"/>
              <a:buNone/>
              <a:tabLst/>
            </a:pPr>
            <a:r>
              <a:rPr lang="en-US" noProof="0"/>
              <a:t>Click to add subtitle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14" y="1163217"/>
            <a:ext cx="4684218" cy="90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886" y="4347615"/>
            <a:ext cx="7567772" cy="452474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352" ker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17630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341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22"/>
            <a:ext cx="11949113" cy="6675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377" y="1810331"/>
            <a:ext cx="11170775" cy="40972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462615" y="352837"/>
            <a:ext cx="9893284" cy="497721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3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47705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600879" cy="672275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84377" y="2116008"/>
            <a:ext cx="3902485" cy="530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568">
                <a:solidFill>
                  <a:srgbClr val="009AA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1202621"/>
            <a:ext cx="3902485" cy="651563"/>
          </a:xfrm>
          <a:effectLst/>
        </p:spPr>
        <p:txBody>
          <a:bodyPr vert="horz" lIns="0" tIns="0" rIns="0" bIns="0" anchor="t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5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9148" y="2614927"/>
            <a:ext cx="9428833" cy="3137302"/>
          </a:xfrm>
          <a:prstGeom prst="rect">
            <a:avLst/>
          </a:prstGeom>
          <a:ln w="9525"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5180" y="1395732"/>
            <a:ext cx="932761" cy="932775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0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14" y="3750618"/>
            <a:ext cx="10873754" cy="2000565"/>
          </a:xfrm>
          <a:effectLst/>
        </p:spPr>
        <p:txBody>
          <a:bodyPr vert="horz" anchor="t">
            <a:noAutofit/>
          </a:bodyPr>
          <a:lstStyle>
            <a:lvl1pPr>
              <a:defRPr sz="5293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62615" y="3606756"/>
            <a:ext cx="1148315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83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522651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84012" y="0"/>
            <a:ext cx="408645" cy="6721475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9823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83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e-bump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1959172" cy="654365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7455" y="2320685"/>
            <a:ext cx="8793924" cy="2097681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614" b="0" i="0" baseline="0" smtClean="0">
                <a:solidFill>
                  <a:schemeClr val="bg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divider/bumper slide tit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584232" y="8013610"/>
            <a:ext cx="1455706" cy="11238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597454"/>
            <a:endParaRPr lang="en-US" sz="2091" dirty="0">
              <a:solidFill>
                <a:srgbClr val="5353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3858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22854" y="0"/>
            <a:ext cx="408645" cy="67214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29077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306325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50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49367" y="0"/>
            <a:ext cx="408645" cy="67214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54293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809502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741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12627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627729"/>
            <a:ext cx="3298640" cy="1466017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99467" y="-1282"/>
            <a:ext cx="7949646" cy="67227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03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557212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76235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74556" y="0"/>
            <a:ext cx="5974557" cy="672147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70657" y="0"/>
            <a:ext cx="5978454" cy="67214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4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84377" y="1750054"/>
            <a:ext cx="4534047" cy="3221368"/>
          </a:xfrm>
          <a:prstGeom prst="rect">
            <a:avLst/>
          </a:prstGeom>
          <a:noFill/>
          <a:effectLst/>
        </p:spPr>
        <p:txBody>
          <a:bodyPr vert="horz" wrap="square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97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04190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62231" y="0"/>
            <a:ext cx="408645" cy="67214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63764" y="0"/>
            <a:ext cx="4285350" cy="67214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64236" y="0"/>
            <a:ext cx="4284877" cy="67214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8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384377" y="1750054"/>
            <a:ext cx="6357079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097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3853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294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038" y="3518923"/>
            <a:ext cx="1338052" cy="3315616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419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24875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494" y="1284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4377" y="2709176"/>
            <a:ext cx="2662331" cy="1288146"/>
          </a:xfrm>
          <a:effectLst/>
        </p:spPr>
        <p:txBody>
          <a:bodyPr vert="horz" lIns="0" tIns="0" rIns="0" b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31319" y="3335087"/>
            <a:ext cx="2640983" cy="3392831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5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13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2608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009AA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253" y="3326819"/>
            <a:ext cx="1272705" cy="3500768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688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33279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318806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84377" y="1750054"/>
            <a:ext cx="4214380" cy="3221368"/>
          </a:xfrm>
          <a:prstGeom prst="rect">
            <a:avLst/>
          </a:prstGeom>
          <a:effectLst/>
        </p:spPr>
        <p:txBody>
          <a:bodyPr vert="horz" lIns="0" tIns="0" rIns="0" bIns="0" anchor="ctr">
            <a:noAutofit/>
          </a:bodyPr>
          <a:lstStyle>
            <a:lvl1pPr>
              <a:defRPr sz="4312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06778" y="3348290"/>
            <a:ext cx="2640983" cy="3373185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60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272" y="3518146"/>
            <a:ext cx="1338052" cy="3315616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880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5529" y="1053185"/>
            <a:ext cx="10909540" cy="354406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372" b="0" i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568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4/2/2023</a:t>
            </a:fld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221059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71317" y="3339963"/>
            <a:ext cx="2640983" cy="33877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4808071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118" y="3518146"/>
            <a:ext cx="1338052" cy="3315616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28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9AA6"/>
              </a:gs>
              <a:gs pos="100000">
                <a:srgbClr val="00747D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36789" y="3339963"/>
            <a:ext cx="2640983" cy="33877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462614" y="352837"/>
            <a:ext cx="6284730" cy="497721"/>
          </a:xfrm>
          <a:effectLst/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921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830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8318813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7449" y="613023"/>
            <a:ext cx="914107" cy="91412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750161"/>
            <a:ext cx="10715391" cy="1574568"/>
          </a:xfrm>
          <a:prstGeom prst="rect">
            <a:avLst/>
          </a:prstGeom>
          <a:effectLst/>
        </p:spPr>
        <p:txBody>
          <a:bodyPr vert="horz" anchor="b">
            <a:noAutofit/>
          </a:bodyPr>
          <a:lstStyle>
            <a:lvl1pPr marL="0" algn="l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02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4D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62038" y="99496"/>
            <a:ext cx="753943" cy="9820208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1949113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9AA6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4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11949113" cy="91589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528"/>
          <a:stretch/>
        </p:blipFill>
        <p:spPr bwMode="auto">
          <a:xfrm>
            <a:off x="0" y="22822"/>
            <a:ext cx="11949113" cy="832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 userDrawn="1">
            <p:ph type="title" hasCustomPrompt="1"/>
          </p:nvPr>
        </p:nvSpPr>
        <p:spPr>
          <a:xfrm>
            <a:off x="462615" y="352837"/>
            <a:ext cx="9893284" cy="497721"/>
          </a:xfrm>
          <a:effectLst/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187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98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62615" y="2470420"/>
            <a:ext cx="2918067" cy="1780636"/>
          </a:xfrm>
          <a:prstGeom prst="rect">
            <a:avLst/>
          </a:prstGeom>
          <a:noFill/>
        </p:spPr>
        <p:txBody>
          <a:bodyPr wrap="square" lIns="89618" tIns="44809" rIns="89618" bIns="44809" rtlCol="0" anchor="ctr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686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708" y="3515345"/>
            <a:ext cx="1338052" cy="3315616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982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31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910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5529" y="268586"/>
            <a:ext cx="11134367" cy="61302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537722" indent="-448102">
              <a:buNone/>
              <a:defRPr sz="2352">
                <a:solidFill>
                  <a:srgbClr val="174B5F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97456" y="6497426"/>
            <a:ext cx="10754202" cy="224049"/>
          </a:xfrm>
          <a:prstGeom prst="rect">
            <a:avLst/>
          </a:prstGeom>
        </p:spPr>
        <p:txBody>
          <a:bodyPr/>
          <a:lstStyle>
            <a:lvl1pPr algn="ctr">
              <a:defRPr sz="882" dirty="0">
                <a:solidFill>
                  <a:srgbClr val="41434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97456" y="6497426"/>
            <a:ext cx="2788126" cy="224049"/>
          </a:xfrm>
          <a:prstGeom prst="rect">
            <a:avLst/>
          </a:prstGeom>
        </p:spPr>
        <p:txBody>
          <a:bodyPr/>
          <a:lstStyle>
            <a:lvl1pPr>
              <a:defRPr sz="882">
                <a:solidFill>
                  <a:srgbClr val="FFFFFF"/>
                </a:solidFill>
              </a:defRPr>
            </a:lvl1pPr>
          </a:lstStyle>
          <a:p>
            <a:fld id="{6679212A-D808-4E4C-AFD3-B2461B3F2480}" type="datetimeFigureOut">
              <a:rPr lang="en-US" smtClean="0"/>
              <a:t>4/2/2023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1268"/>
            <a:ext cx="603430" cy="256366"/>
          </a:xfrm>
          <a:prstGeom prst="rect">
            <a:avLst/>
          </a:prstGeom>
        </p:spPr>
        <p:txBody>
          <a:bodyPr/>
          <a:lstStyle>
            <a:lvl1pPr>
              <a:defRPr sz="1078"/>
            </a:lvl1pPr>
          </a:lstStyle>
          <a:p>
            <a:fld id="{7FCAD0F2-EA76-4F9D-AB29-5FB0465148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680995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957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71D16C0-7620-481D-B1CA-2FB0A82764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59" y="2546865"/>
            <a:ext cx="6975011" cy="1348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02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627836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 userDrawn="1"/>
        </p:nvGrpSpPr>
        <p:grpSpPr>
          <a:xfrm>
            <a:off x="-588" y="-1"/>
            <a:ext cx="11950877" cy="6721476"/>
            <a:chOff x="-600" y="-1"/>
            <a:chExt cx="12193800" cy="6858001"/>
          </a:xfrm>
        </p:grpSpPr>
        <p:grpSp>
          <p:nvGrpSpPr>
            <p:cNvPr id="52" name="Baselines / anchors"/>
            <p:cNvGrpSpPr/>
            <p:nvPr userDrawn="1"/>
          </p:nvGrpSpPr>
          <p:grpSpPr>
            <a:xfrm>
              <a:off x="-600" y="622800"/>
              <a:ext cx="12193200" cy="5404732"/>
              <a:chOff x="12623800" y="622800"/>
              <a:chExt cx="11176000" cy="5536800"/>
            </a:xfrm>
          </p:grpSpPr>
          <p:cxnSp>
            <p:nvCxnSpPr>
              <p:cNvPr id="124" name="Straight Connector 123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13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Whitespace measure"/>
            <p:cNvSpPr>
              <a:spLocks noChangeArrowheads="1"/>
            </p:cNvSpPr>
            <p:nvPr/>
          </p:nvSpPr>
          <p:spPr bwMode="auto">
            <a:xfrm>
              <a:off x="392190" y="1263901"/>
              <a:ext cx="11397841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Live area"/>
            <p:cNvSpPr/>
            <p:nvPr/>
          </p:nvSpPr>
          <p:spPr>
            <a:xfrm>
              <a:off x="392190" y="1847101"/>
              <a:ext cx="11397841" cy="4180431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8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02"/>
            <p:cNvSpPr/>
            <p:nvPr userDrawn="1"/>
          </p:nvSpPr>
          <p:spPr>
            <a:xfrm>
              <a:off x="630002" y="622799"/>
              <a:ext cx="10931999" cy="750"/>
            </a:xfrm>
            <a:custGeom>
              <a:avLst/>
              <a:gdLst>
                <a:gd name="connsiteX0" fmla="*/ 0 w 10931999"/>
                <a:gd name="connsiteY0" fmla="*/ 0 h 750"/>
                <a:gd name="connsiteX1" fmla="*/ 10931999 w 10931999"/>
                <a:gd name="connsiteY1" fmla="*/ 0 h 750"/>
                <a:gd name="connsiteX2" fmla="*/ 10931999 w 10931999"/>
                <a:gd name="connsiteY2" fmla="*/ 750 h 750"/>
                <a:gd name="connsiteX3" fmla="*/ 0 w 10931999"/>
                <a:gd name="connsiteY3" fmla="*/ 750 h 750"/>
                <a:gd name="connsiteX4" fmla="*/ 0 w 10931999"/>
                <a:gd name="connsiteY4" fmla="*/ 0 h 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31999" h="750">
                  <a:moveTo>
                    <a:pt x="0" y="0"/>
                  </a:moveTo>
                  <a:lnTo>
                    <a:pt x="10931999" y="0"/>
                  </a:lnTo>
                  <a:lnTo>
                    <a:pt x="10931999" y="750"/>
                  </a:lnTo>
                  <a:lnTo>
                    <a:pt x="0" y="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BA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03"/>
            <p:cNvSpPr/>
            <p:nvPr userDrawn="1"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22800 h 6858000"/>
                <a:gd name="connsiteX3" fmla="*/ 12192000 w 12193200"/>
                <a:gd name="connsiteY3" fmla="*/ 622800 h 6858000"/>
                <a:gd name="connsiteX4" fmla="*/ 12192000 w 12193200"/>
                <a:gd name="connsiteY4" fmla="*/ 6160597 h 6858000"/>
                <a:gd name="connsiteX5" fmla="*/ 12193200 w 12193200"/>
                <a:gd name="connsiteY5" fmla="*/ 6160597 h 6858000"/>
                <a:gd name="connsiteX6" fmla="*/ 12193200 w 12193200"/>
                <a:gd name="connsiteY6" fmla="*/ 6858000 h 6858000"/>
                <a:gd name="connsiteX7" fmla="*/ 12192000 w 12193200"/>
                <a:gd name="connsiteY7" fmla="*/ 6858000 h 6858000"/>
                <a:gd name="connsiteX8" fmla="*/ 11562000 w 12193200"/>
                <a:gd name="connsiteY8" fmla="*/ 6858000 h 6858000"/>
                <a:gd name="connsiteX9" fmla="*/ 630001 w 12193200"/>
                <a:gd name="connsiteY9" fmla="*/ 6858000 h 6858000"/>
                <a:gd name="connsiteX10" fmla="*/ 1 w 12193200"/>
                <a:gd name="connsiteY10" fmla="*/ 6858000 h 6858000"/>
                <a:gd name="connsiteX11" fmla="*/ 1 w 12193200"/>
                <a:gd name="connsiteY11" fmla="*/ 6160597 h 6858000"/>
                <a:gd name="connsiteX12" fmla="*/ 1 w 12193200"/>
                <a:gd name="connsiteY12" fmla="*/ 622800 h 6858000"/>
                <a:gd name="connsiteX13" fmla="*/ 0 w 12193200"/>
                <a:gd name="connsiteY13" fmla="*/ 622800 h 6858000"/>
                <a:gd name="connsiteX14" fmla="*/ 0 w 12193200"/>
                <a:gd name="connsiteY14" fmla="*/ 0 h 6858000"/>
                <a:gd name="connsiteX15" fmla="*/ 630001 w 12193200"/>
                <a:gd name="connsiteY15" fmla="*/ 622800 h 6858000"/>
                <a:gd name="connsiteX16" fmla="*/ 630001 w 12193200"/>
                <a:gd name="connsiteY16" fmla="*/ 623550 h 6858000"/>
                <a:gd name="connsiteX17" fmla="*/ 392190 w 12193200"/>
                <a:gd name="connsiteY17" fmla="*/ 623550 h 6858000"/>
                <a:gd name="connsiteX18" fmla="*/ 392190 w 12193200"/>
                <a:gd name="connsiteY18" fmla="*/ 6470730 h 6858000"/>
                <a:gd name="connsiteX19" fmla="*/ 11790031 w 12193200"/>
                <a:gd name="connsiteY19" fmla="*/ 6470730 h 6858000"/>
                <a:gd name="connsiteX20" fmla="*/ 11790031 w 12193200"/>
                <a:gd name="connsiteY20" fmla="*/ 623550 h 6858000"/>
                <a:gd name="connsiteX21" fmla="*/ 11562000 w 12193200"/>
                <a:gd name="connsiteY21" fmla="*/ 623550 h 6858000"/>
                <a:gd name="connsiteX22" fmla="*/ 11562000 w 12193200"/>
                <a:gd name="connsiteY22" fmla="*/ 622800 h 6858000"/>
                <a:gd name="connsiteX23" fmla="*/ 630001 w 12193200"/>
                <a:gd name="connsiteY23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lnTo>
                    <a:pt x="0" y="0"/>
                  </a:lnTo>
                  <a:close/>
                  <a:moveTo>
                    <a:pt x="630001" y="622800"/>
                  </a:moveTo>
                  <a:lnTo>
                    <a:pt x="630001" y="623550"/>
                  </a:lnTo>
                  <a:lnTo>
                    <a:pt x="392190" y="623550"/>
                  </a:lnTo>
                  <a:lnTo>
                    <a:pt x="392190" y="6470730"/>
                  </a:lnTo>
                  <a:lnTo>
                    <a:pt x="11790031" y="6470730"/>
                  </a:lnTo>
                  <a:lnTo>
                    <a:pt x="11790031" y="623550"/>
                  </a:lnTo>
                  <a:lnTo>
                    <a:pt x="11562000" y="623550"/>
                  </a:lnTo>
                  <a:lnTo>
                    <a:pt x="11562000" y="622800"/>
                  </a:lnTo>
                  <a:lnTo>
                    <a:pt x="630001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ootnote measure"/>
            <p:cNvSpPr>
              <a:spLocks noChangeArrowheads="1"/>
            </p:cNvSpPr>
            <p:nvPr/>
          </p:nvSpPr>
          <p:spPr bwMode="auto">
            <a:xfrm>
              <a:off x="392190" y="6027340"/>
              <a:ext cx="11397841" cy="44339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4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8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89620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4" b="0" i="0" u="none" strike="noStrike" kern="1200" cap="none" spc="0" normalizeH="0" baseline="0" noProof="0" dirty="0">
                  <a:ln>
                    <a:noFill/>
                  </a:ln>
                  <a:solidFill>
                    <a:srgbClr val="01010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7" name="Footnote example"/>
            <p:cNvSpPr txBox="1"/>
            <p:nvPr/>
          </p:nvSpPr>
          <p:spPr>
            <a:xfrm>
              <a:off x="392189" y="6055231"/>
              <a:ext cx="9788619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89620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9102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2656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7449" y="889138"/>
            <a:ext cx="3380094" cy="342347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072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19597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609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87401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86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9AA6"/>
            </a:gs>
            <a:gs pos="100000">
              <a:srgbClr val="00747D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14373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97934" y="0"/>
            <a:ext cx="408645" cy="67214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99467" y="-1282"/>
            <a:ext cx="7949646" cy="672275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62615" y="3156483"/>
            <a:ext cx="1516321" cy="407227"/>
          </a:xfrm>
          <a:prstGeom prst="rect">
            <a:avLst/>
          </a:prstGeom>
          <a:noFill/>
        </p:spPr>
        <p:txBody>
          <a:bodyPr wrap="square" lIns="89618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4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1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2704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60491" y="4597797"/>
            <a:ext cx="910823" cy="976049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459488" y="4597798"/>
            <a:ext cx="1538872" cy="143894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7" tIns="176414" rIns="179237" bIns="179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7449" y="889137"/>
            <a:ext cx="3380094" cy="3423471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9808" tIns="458677" rIns="0" bIns="0" rtlCol="0" anchor="t">
            <a:no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5293" b="0" i="0" u="none" strike="noStrike" kern="1200" cap="none" spc="0" normalizeH="0" baseline="0" noProof="0" dirty="0">
              <a:ln>
                <a:noFill/>
              </a:ln>
              <a:solidFill>
                <a:srgbClr val="31F0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75502" y="1093211"/>
            <a:ext cx="2263282" cy="864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89620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93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7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960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170119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9148" y="1399701"/>
            <a:ext cx="928793" cy="928806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9596" y="2614495"/>
            <a:ext cx="9427568" cy="3136688"/>
          </a:xfrm>
          <a:prstGeom prst="rect">
            <a:avLst/>
          </a:prstGeom>
          <a:noFill/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152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44156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97867" y="3843532"/>
            <a:ext cx="5031771" cy="967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7449" y="610401"/>
            <a:ext cx="7046760" cy="407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89620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0" b="0" i="0" u="none" strike="noStrike" kern="1200" cap="none" spc="0" normalizeH="0" baseline="0" noProof="0" dirty="0">
                <a:ln>
                  <a:noFill/>
                </a:ln>
                <a:solidFill>
                  <a:srgbClr val="009AA6"/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Trebuchet MS" panose="020B0603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6568" y="1181992"/>
            <a:ext cx="11345683" cy="0"/>
          </a:xfrm>
          <a:prstGeom prst="line">
            <a:avLst/>
          </a:prstGeom>
          <a:ln w="9525" cap="flat" cmpd="sng" algn="ctr">
            <a:solidFill>
              <a:srgbClr val="009AA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0" y="6431530"/>
            <a:ext cx="11949113" cy="28994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9AA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05BFEF8C-E0E7-492D-B821-57733A3A6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6405924"/>
            <a:ext cx="11949113" cy="28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11252081" y="6483775"/>
            <a:ext cx="483359" cy="16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>
              <a:defRPr sz="1067" b="0">
                <a:solidFill>
                  <a:schemeClr val="bg1"/>
                </a:solidFill>
              </a:defRPr>
            </a:lvl1pPr>
            <a:lvl2pPr marL="37931725" indent="-37474525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kumimoji="0" lang="en-US" sz="1046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58" descr="BL_Corporate_Logo_rgb_client">
            <a:extLst>
              <a:ext uri="{FF2B5EF4-FFF2-40B4-BE49-F238E27FC236}">
                <a16:creationId xmlns:a16="http://schemas.microsoft.com/office/drawing/2014/main" id="{5177DE2C-A6D4-4CD3-9491-CCDA4F3E4E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4046" y="6484266"/>
            <a:ext cx="2257054" cy="178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54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10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67.xml"/><Relationship Id="rId47" Type="http://schemas.openxmlformats.org/officeDocument/2006/relationships/slideLayout" Target="../slideLayouts/slideLayout72.xml"/><Relationship Id="rId63" Type="http://schemas.openxmlformats.org/officeDocument/2006/relationships/slideLayout" Target="../slideLayouts/slideLayout88.xml"/><Relationship Id="rId68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slideLayout" Target="../slideLayouts/slideLayout62.xml"/><Relationship Id="rId40" Type="http://schemas.openxmlformats.org/officeDocument/2006/relationships/slideLayout" Target="../slideLayouts/slideLayout65.xml"/><Relationship Id="rId45" Type="http://schemas.openxmlformats.org/officeDocument/2006/relationships/slideLayout" Target="../slideLayouts/slideLayout70.xml"/><Relationship Id="rId53" Type="http://schemas.openxmlformats.org/officeDocument/2006/relationships/slideLayout" Target="../slideLayouts/slideLayout78.xml"/><Relationship Id="rId58" Type="http://schemas.openxmlformats.org/officeDocument/2006/relationships/slideLayout" Target="../slideLayouts/slideLayout83.xml"/><Relationship Id="rId66" Type="http://schemas.openxmlformats.org/officeDocument/2006/relationships/slideLayout" Target="../slideLayouts/slideLayout91.xml"/><Relationship Id="rId74" Type="http://schemas.openxmlformats.org/officeDocument/2006/relationships/slideLayout" Target="../slideLayouts/slideLayout99.xml"/><Relationship Id="rId79" Type="http://schemas.openxmlformats.org/officeDocument/2006/relationships/oleObject" Target="../embeddings/oleObject7.bin"/><Relationship Id="rId5" Type="http://schemas.openxmlformats.org/officeDocument/2006/relationships/slideLayout" Target="../slideLayouts/slideLayout30.xml"/><Relationship Id="rId61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Relationship Id="rId43" Type="http://schemas.openxmlformats.org/officeDocument/2006/relationships/slideLayout" Target="../slideLayouts/slideLayout68.xml"/><Relationship Id="rId48" Type="http://schemas.openxmlformats.org/officeDocument/2006/relationships/slideLayout" Target="../slideLayouts/slideLayout73.xml"/><Relationship Id="rId56" Type="http://schemas.openxmlformats.org/officeDocument/2006/relationships/slideLayout" Target="../slideLayouts/slideLayout81.xml"/><Relationship Id="rId64" Type="http://schemas.openxmlformats.org/officeDocument/2006/relationships/slideLayout" Target="../slideLayouts/slideLayout89.xml"/><Relationship Id="rId69" Type="http://schemas.openxmlformats.org/officeDocument/2006/relationships/slideLayout" Target="../slideLayouts/slideLayout94.xml"/><Relationship Id="rId77" Type="http://schemas.openxmlformats.org/officeDocument/2006/relationships/theme" Target="../theme/theme4.xml"/><Relationship Id="rId8" Type="http://schemas.openxmlformats.org/officeDocument/2006/relationships/slideLayout" Target="../slideLayouts/slideLayout33.xml"/><Relationship Id="rId51" Type="http://schemas.openxmlformats.org/officeDocument/2006/relationships/slideLayout" Target="../slideLayouts/slideLayout76.xml"/><Relationship Id="rId72" Type="http://schemas.openxmlformats.org/officeDocument/2006/relationships/slideLayout" Target="../slideLayouts/slideLayout97.xml"/><Relationship Id="rId80" Type="http://schemas.openxmlformats.org/officeDocument/2006/relationships/image" Target="../media/image19.emf"/><Relationship Id="rId3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slideLayout" Target="../slideLayouts/slideLayout63.xml"/><Relationship Id="rId46" Type="http://schemas.openxmlformats.org/officeDocument/2006/relationships/slideLayout" Target="../slideLayouts/slideLayout71.xml"/><Relationship Id="rId59" Type="http://schemas.openxmlformats.org/officeDocument/2006/relationships/slideLayout" Target="../slideLayouts/slideLayout84.xml"/><Relationship Id="rId67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45.xml"/><Relationship Id="rId41" Type="http://schemas.openxmlformats.org/officeDocument/2006/relationships/slideLayout" Target="../slideLayouts/slideLayout66.xml"/><Relationship Id="rId54" Type="http://schemas.openxmlformats.org/officeDocument/2006/relationships/slideLayout" Target="../slideLayouts/slideLayout79.xml"/><Relationship Id="rId62" Type="http://schemas.openxmlformats.org/officeDocument/2006/relationships/slideLayout" Target="../slideLayouts/slideLayout87.xml"/><Relationship Id="rId70" Type="http://schemas.openxmlformats.org/officeDocument/2006/relationships/slideLayout" Target="../slideLayouts/slideLayout95.xml"/><Relationship Id="rId75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49" Type="http://schemas.openxmlformats.org/officeDocument/2006/relationships/slideLayout" Target="../slideLayouts/slideLayout74.xml"/><Relationship Id="rId57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56.xml"/><Relationship Id="rId44" Type="http://schemas.openxmlformats.org/officeDocument/2006/relationships/slideLayout" Target="../slideLayouts/slideLayout69.xml"/><Relationship Id="rId52" Type="http://schemas.openxmlformats.org/officeDocument/2006/relationships/slideLayout" Target="../slideLayouts/slideLayout77.xml"/><Relationship Id="rId60" Type="http://schemas.openxmlformats.org/officeDocument/2006/relationships/slideLayout" Target="../slideLayouts/slideLayout85.xml"/><Relationship Id="rId65" Type="http://schemas.openxmlformats.org/officeDocument/2006/relationships/slideLayout" Target="../slideLayouts/slideLayout90.xml"/><Relationship Id="rId73" Type="http://schemas.openxmlformats.org/officeDocument/2006/relationships/slideLayout" Target="../slideLayouts/slideLayout98.xml"/><Relationship Id="rId78" Type="http://schemas.openxmlformats.org/officeDocument/2006/relationships/tags" Target="../tags/tag49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75.xml"/><Relationship Id="rId55" Type="http://schemas.openxmlformats.org/officeDocument/2006/relationships/slideLayout" Target="../slideLayouts/slideLayout80.xml"/><Relationship Id="rId76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32.xml"/><Relationship Id="rId71" Type="http://schemas.openxmlformats.org/officeDocument/2006/relationships/slideLayout" Target="../slideLayouts/slideLayout96.xml"/><Relationship Id="rId2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Relationship Id="rId9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40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1" r:id="rId2"/>
    <p:sldLayoutId id="2147483678" r:id="rId3"/>
    <p:sldLayoutId id="2147483679" r:id="rId4"/>
    <p:sldLayoutId id="2147483680" r:id="rId5"/>
    <p:sldLayoutId id="2147483689" r:id="rId6"/>
    <p:sldLayoutId id="2147483690" r:id="rId7"/>
    <p:sldLayoutId id="2147483692" r:id="rId8"/>
    <p:sldLayoutId id="2147483693" r:id="rId9"/>
    <p:sldLayoutId id="2147483706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EBB0-50D9-44AF-8C02-D8242043B2A7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E0E0E0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E0E0E0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16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11404090"/>
              </p:ext>
            </p:extLst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94"/>
              </a:spcBef>
              <a:spcAft>
                <a:spcPts val="294"/>
              </a:spcAft>
            </a:pPr>
            <a:endParaRPr lang="en-US" sz="24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42936" y="6000314"/>
            <a:ext cx="7133620" cy="12066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784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43685" y="168784"/>
            <a:ext cx="10861744" cy="71695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1947619" cy="6721475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568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35051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97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43685" y="1291614"/>
            <a:ext cx="441470" cy="1206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784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868452" y="2127585"/>
            <a:ext cx="2988506" cy="558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68" dirty="0"/>
              <a:t>Above Chart Exhibit Title</a:t>
            </a:r>
          </a:p>
          <a:p>
            <a:pPr lvl="0"/>
            <a:r>
              <a:rPr lang="en-US" sz="1568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3685" y="2127586"/>
            <a:ext cx="4723908" cy="13574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2494289-F853-4E36-A34A-2024C848B212}"/>
              </a:ext>
            </a:extLst>
          </p:cNvPr>
          <p:cNvGrpSpPr/>
          <p:nvPr userDrawn="1"/>
        </p:nvGrpSpPr>
        <p:grpSpPr>
          <a:xfrm>
            <a:off x="10111764" y="3087510"/>
            <a:ext cx="1293664" cy="939209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776B83E0-A1B9-44E7-B344-07CA4591B1B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AE107ECD-25AF-4CA1-8439-FAA30921236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D76D524C-691C-4842-9883-0B26806AB56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3A1F266-CB01-4FC1-9F27-F56F9701DF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5F8DC16-797F-4DD7-830F-1106AA4F98D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0A2C4AE3-AF47-4488-8521-F19747B82CA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372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76E35A2-71C0-488F-BAA3-555F74F3EB0C}"/>
              </a:ext>
            </a:extLst>
          </p:cNvPr>
          <p:cNvGrpSpPr/>
          <p:nvPr userDrawn="1"/>
        </p:nvGrpSpPr>
        <p:grpSpPr>
          <a:xfrm>
            <a:off x="10475385" y="1122572"/>
            <a:ext cx="930044" cy="1697382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F1A53F8-EBB5-43DB-896D-AD0E24A1A0C3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713D011-DD68-478E-8D9D-EA6BF84F7A73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5BEEAF-B1C0-460C-B3C0-64755870893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BA90A98B-00E2-4FCA-B442-8F8AB0B9ECAA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10E8F53D-D26E-4BEC-8536-7DBEC5639E2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A9CFB33E-5CE6-450F-81C8-211CAE16AA87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984DA8D8-89DB-4C62-BA61-98BF7EE68719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B3411F63-2131-455D-99D7-52CE507E1094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270C655-1709-4641-A07F-A612696BC711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5B4BAE99-0E1F-4CE3-9C4B-B2BAA3F661C5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A54E084-F3B8-4BFC-AFF0-A67A81599132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2E11396-F30D-4AC3-9B73-CCB81C737057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E9974FCF-450E-4DDB-A91D-8B1E45B15A0C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8B253C2-35AC-4189-A904-2087EEC61DD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C457FCE2-91AF-4303-BED7-A3888BB9DC7F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D50DE59-0B6B-41B8-AFB1-59F1AEE6D2DF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2A88CAB4-7A3D-4F9E-8EF1-3CA168E91F0C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233CC02-1368-4A0A-B9DA-FAD4922BAA4B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E2EC13B5-329F-42C0-9A0E-7479B50F942F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37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A766F071-3B6C-41AE-804F-95E4197AF53E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372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20050E4B-427F-4541-812A-EA21EAD5E073}"/>
              </a:ext>
            </a:extLst>
          </p:cNvPr>
          <p:cNvGrpSpPr/>
          <p:nvPr userDrawn="1"/>
        </p:nvGrpSpPr>
        <p:grpSpPr>
          <a:xfrm>
            <a:off x="10501343" y="4294276"/>
            <a:ext cx="904086" cy="1683095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E3FB44AE-1AF6-4D55-B22F-2E72093FC7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FCE01506-736E-4973-9694-CBF3935356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C9DD377-EDBA-410F-8986-BCDE16B4580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6CB72BD-0837-4D8C-B175-ADE60A82B94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887535B-93E3-4590-861F-426B392450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AE215C2-2230-43F4-86FF-1C9A32F3A619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B24A6A50-57F6-4603-9A0B-1C0505F8D44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5CB238A0-0230-44D4-B85C-F2CC08F4FC8B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70E7AE02-F4C6-4AEC-A5B1-8DCA188E225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1BD101B-C40C-4D74-AEE3-AC942A1195E8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193F61D9-062A-4161-A67E-F9A7A9A8D00E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543685" y="930436"/>
            <a:ext cx="10861744" cy="1"/>
          </a:xfrm>
          <a:prstGeom prst="line">
            <a:avLst/>
          </a:prstGeom>
          <a:noFill/>
          <a:ln w="28575" cap="flat" cmpd="sng" algn="ctr">
            <a:solidFill>
              <a:srgbClr val="5A5A5A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pic>
        <p:nvPicPr>
          <p:cNvPr id="52752" name="Picture 528" descr="Bausch + Lomb Logo : Bausch + Lomb">
            <a:extLst>
              <a:ext uri="{FF2B5EF4-FFF2-40B4-BE49-F238E27FC236}">
                <a16:creationId xmlns:a16="http://schemas.microsoft.com/office/drawing/2014/main" id="{49BAB69B-EBE8-4D33-872A-0062C9974DF2}"/>
              </a:ext>
            </a:extLst>
          </p:cNvPr>
          <p:cNvPicPr>
            <a:picLocks noChangeArrowheads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43685" y="6377242"/>
            <a:ext cx="1140393" cy="8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12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96" r:id="rId5"/>
  </p:sldLayoutIdLst>
  <p:hf hdr="0" dt="0"/>
  <p:txStyles>
    <p:titleStyle>
      <a:lvl1pPr algn="l" defTabSz="896203" rtl="0" eaLnBrk="1" latinLnBrk="0" hangingPunct="1">
        <a:lnSpc>
          <a:spcPct val="100000"/>
        </a:lnSpc>
        <a:spcBef>
          <a:spcPct val="0"/>
        </a:spcBef>
        <a:buNone/>
        <a:defRPr lang="en-US" sz="245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96203" rtl="0" eaLnBrk="1" latinLnBrk="0" hangingPunct="1">
        <a:lnSpc>
          <a:spcPct val="100000"/>
        </a:lnSpc>
        <a:spcBef>
          <a:spcPts val="294"/>
        </a:spcBef>
        <a:spcAft>
          <a:spcPts val="294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68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4051" indent="-220939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4099" indent="-21004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86578" indent="-149367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01293" indent="-14470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68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821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228112800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2615" y="330212"/>
            <a:ext cx="9893284" cy="520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59" dir="27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eaLnBrk="0" fontAlgn="base" hangingPunct="0">
              <a:lnSpc>
                <a:spcPct val="95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84377" y="1810331"/>
            <a:ext cx="11170775" cy="4097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20438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  <p:sldLayoutId id="2147483750" r:id="rId38"/>
    <p:sldLayoutId id="2147483751" r:id="rId39"/>
    <p:sldLayoutId id="2147483752" r:id="rId40"/>
    <p:sldLayoutId id="2147483753" r:id="rId41"/>
    <p:sldLayoutId id="2147483754" r:id="rId42"/>
    <p:sldLayoutId id="2147483755" r:id="rId43"/>
    <p:sldLayoutId id="2147483756" r:id="rId44"/>
    <p:sldLayoutId id="2147483757" r:id="rId45"/>
    <p:sldLayoutId id="2147483758" r:id="rId46"/>
    <p:sldLayoutId id="2147483759" r:id="rId47"/>
    <p:sldLayoutId id="2147483760" r:id="rId48"/>
    <p:sldLayoutId id="2147483761" r:id="rId49"/>
    <p:sldLayoutId id="2147483762" r:id="rId50"/>
    <p:sldLayoutId id="2147483763" r:id="rId51"/>
    <p:sldLayoutId id="2147483764" r:id="rId52"/>
    <p:sldLayoutId id="2147483765" r:id="rId53"/>
    <p:sldLayoutId id="2147483766" r:id="rId54"/>
    <p:sldLayoutId id="2147483767" r:id="rId55"/>
    <p:sldLayoutId id="2147483768" r:id="rId56"/>
    <p:sldLayoutId id="2147483769" r:id="rId57"/>
    <p:sldLayoutId id="2147483770" r:id="rId58"/>
    <p:sldLayoutId id="2147483771" r:id="rId59"/>
    <p:sldLayoutId id="2147483772" r:id="rId60"/>
    <p:sldLayoutId id="2147483773" r:id="rId61"/>
    <p:sldLayoutId id="2147483774" r:id="rId62"/>
    <p:sldLayoutId id="2147483775" r:id="rId63"/>
    <p:sldLayoutId id="2147483776" r:id="rId64"/>
    <p:sldLayoutId id="2147483777" r:id="rId65"/>
    <p:sldLayoutId id="2147483778" r:id="rId66"/>
    <p:sldLayoutId id="2147483779" r:id="rId67"/>
    <p:sldLayoutId id="2147483780" r:id="rId68"/>
    <p:sldLayoutId id="2147483781" r:id="rId69"/>
    <p:sldLayoutId id="2147483782" r:id="rId70"/>
    <p:sldLayoutId id="2147483783" r:id="rId71"/>
    <p:sldLayoutId id="2147483784" r:id="rId72"/>
    <p:sldLayoutId id="2147483785" r:id="rId73"/>
    <p:sldLayoutId id="2147483786" r:id="rId74"/>
    <p:sldLayoutId id="2147483787" r:id="rId75"/>
    <p:sldLayoutId id="2147483788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6203" rtl="0" eaLnBrk="1" latinLnBrk="0" hangingPunct="1">
        <a:lnSpc>
          <a:spcPct val="90000"/>
        </a:lnSpc>
        <a:spcBef>
          <a:spcPct val="0"/>
        </a:spcBef>
        <a:buNone/>
        <a:defRPr kumimoji="0" lang="en-US" sz="2940" b="0" i="0" u="none" strike="noStrike" kern="0" cap="none" spc="0" normalizeH="0" baseline="0" dirty="0">
          <a:ln>
            <a:noFill/>
          </a:ln>
          <a:solidFill>
            <a:srgbClr val="FFFFFF"/>
          </a:solidFill>
          <a:effectLst/>
          <a:uLnTx/>
          <a:uFillTx/>
          <a:latin typeface="Calibri"/>
          <a:ea typeface="ＭＳ Ｐゴシック"/>
          <a:cs typeface="+mj-cs"/>
          <a:sym typeface="Trebuchet MS" panose="020B0603020202020204" pitchFamily="34" charset="0"/>
        </a:defRPr>
      </a:lvl1pPr>
    </p:titleStyle>
    <p:bodyStyle>
      <a:lvl1pPr marL="0" indent="0" algn="l" defTabSz="896203" rtl="0" eaLnBrk="1" latinLnBrk="0" hangingPunct="1">
        <a:lnSpc>
          <a:spcPct val="110000"/>
        </a:lnSpc>
        <a:spcBef>
          <a:spcPts val="588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8740" indent="-169361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•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01027" indent="-162305" algn="l" defTabSz="896203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9AA6"/>
        </a:buClr>
        <a:buFont typeface="Trebuchet MS" panose="020B0603020202020204" pitchFamily="34" charset="0"/>
        <a:buChar char="–"/>
        <a:defRPr lang="en-US" sz="1176" kern="120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96203" rtl="0" eaLnBrk="1" latinLnBrk="0" hangingPunct="1">
        <a:lnSpc>
          <a:spcPct val="110000"/>
        </a:lnSpc>
        <a:spcBef>
          <a:spcPts val="294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kern="120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rgbClr val="009AA6"/>
        </a:buClr>
        <a:buFont typeface="Arial" panose="020B0604020202020204" pitchFamily="34" charset="0"/>
        <a:buChar char="​"/>
        <a:defRPr lang="en-US" sz="1568" b="1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4504" indent="-149367" algn="l" defTabSz="896203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9AA6"/>
        </a:buClr>
        <a:buFont typeface="Arial" panose="020B0604020202020204" pitchFamily="34" charset="0"/>
        <a:buChar char="•"/>
        <a:defRPr lang="en-US" sz="1568" kern="120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4312" kern="1200" baseline="0" smtClean="0">
          <a:solidFill>
            <a:srgbClr val="01010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6203" rtl="0" eaLnBrk="1" latinLnBrk="0" hangingPunct="1">
        <a:lnSpc>
          <a:spcPct val="90000"/>
        </a:lnSpc>
        <a:spcBef>
          <a:spcPts val="882"/>
        </a:spcBef>
        <a:spcAft>
          <a:spcPts val="0"/>
        </a:spcAft>
        <a:buClr>
          <a:srgbClr val="009AA6"/>
        </a:buClr>
        <a:buFont typeface="Arial" panose="020B0604020202020204" pitchFamily="34" charset="0"/>
        <a:buChar char="​"/>
        <a:defRPr lang="en-US" sz="5293" kern="1200" baseline="0" smtClean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6203" rtl="0" eaLnBrk="1" latinLnBrk="0" hangingPunct="1">
        <a:lnSpc>
          <a:spcPct val="100000"/>
        </a:lnSpc>
        <a:spcBef>
          <a:spcPts val="0"/>
        </a:spcBef>
        <a:spcAft>
          <a:spcPts val="882"/>
        </a:spcAft>
        <a:buClr>
          <a:srgbClr val="009AA6"/>
        </a:buClr>
        <a:buFont typeface="Arial" panose="020B0604020202020204" pitchFamily="34" charset="0"/>
        <a:buChar char="​"/>
        <a:defRPr lang="en-US" sz="2352" kern="1200" baseline="0" dirty="0">
          <a:solidFill>
            <a:srgbClr val="009AA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7880" y="277392"/>
            <a:ext cx="10806064" cy="59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4805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5221" y="6323896"/>
            <a:ext cx="659691" cy="244375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4400" y="1098905"/>
            <a:ext cx="10828883" cy="500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3344" y="791448"/>
            <a:ext cx="10700600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67659" y="6342160"/>
            <a:ext cx="1854282" cy="1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9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</p:sldLayoutIdLst>
  <p:hf hdr="0" ftr="0" dt="0"/>
  <p:txStyles>
    <p:titleStyle>
      <a:lvl1pPr algn="l" defTabSz="448056" rtl="0" eaLnBrk="0" fontAlgn="base" hangingPunct="0">
        <a:spcBef>
          <a:spcPct val="0"/>
        </a:spcBef>
        <a:spcAft>
          <a:spcPct val="0"/>
        </a:spcAft>
        <a:tabLst>
          <a:tab pos="1512189" algn="l"/>
        </a:tabLst>
        <a:defRPr lang="en-US" sz="2800" b="1" kern="1200" cap="none" spc="-150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defTabSz="44805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48056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6pPr>
      <a:lvl7pPr marL="896112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7pPr>
      <a:lvl8pPr marL="1344168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8pPr>
      <a:lvl9pPr marL="1792224" algn="ctr" defTabSz="448056" rtl="0" fontAlgn="base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Calibri" pitchFamily="34" charset="0"/>
        </a:defRPr>
      </a:lvl9pPr>
    </p:titleStyle>
    <p:bodyStyle>
      <a:lvl1pPr marL="224028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48056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0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084" indent="-205359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896112" indent="-242697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0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20140" indent="-224028" algn="l" defTabSz="448056" rtl="0" eaLnBrk="0" fontAlgn="base" hangingPunct="0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0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464308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448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448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bauschcloud.sharepoint.com/sites/330-ConsumerShopifyeCommerceFulfillment/Shared%20Documents/Forms/AllItems.aspx?csf=1&amp;web=1&amp;e=CeSOY3&amp;cid=ec7e0f52%2D975d%2D425e%2D8adb%2D03fd00fca80f&amp;RootFolder=%2Fsites%2F330%2DConsumerShopifyeCommerceFulfillment%2FShared%20Documents%2FGeneral%2FSDLC%2F3%2E%20Testing%2FUAT%2FPCGI%2FUAT%20Execution&amp;FolderCTID=0x012000812722412C1EEA4CA9B124EC55A5AF6B" TargetMode="Externa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bauschcloud.sharepoint.com/sites/330-ConsumerShopifyeCommerceFulfillment/Shared%20Documents/Forms/AllItems.aspx?csf=1&amp;web=1&amp;e=CeSOY3&amp;cid=ec7e0f52%2D975d%2D425e%2D8adb%2D03fd00fca80f&amp;RootFolder=%2Fsites%2F330%2DConsumerShopifyeCommerceFulfillment%2FShared%20Documents%2FGeneral%2FSDLC%2F3%2E%20Testing%2FUAT%2FPCGI%2FUAT%20Execution&amp;FolderCTID=0x012000812722412C1EEA4CA9B124EC55A5AF6B" TargetMode="Externa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56" y="1606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6" y="1606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783885" y="2463247"/>
            <a:ext cx="7902347" cy="867930"/>
          </a:xfrm>
        </p:spPr>
        <p:txBody>
          <a:bodyPr vert="horz"/>
          <a:lstStyle/>
          <a:p>
            <a:r>
              <a:rPr lang="en-US" sz="2800" b="1" dirty="0"/>
              <a:t>US Consumer eCommerce Shopify Implementation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783885" y="3552825"/>
            <a:ext cx="7567773" cy="1016560"/>
          </a:xfrm>
        </p:spPr>
        <p:txBody>
          <a:bodyPr/>
          <a:lstStyle/>
          <a:p>
            <a:pPr>
              <a:buNone/>
            </a:pPr>
            <a:r>
              <a:rPr lang="en-US" sz="2800" dirty="0">
                <a:latin typeface="+mj-lt"/>
                <a:cs typeface="Times New Roman" panose="02020603050405020304" pitchFamily="18" charset="0"/>
              </a:rPr>
              <a:t>How to Execute the User Testing for Brand Site(</a:t>
            </a:r>
            <a:r>
              <a:rPr lang="en-US" sz="2800" dirty="0" err="1">
                <a:latin typeface="+mj-lt"/>
                <a:cs typeface="Times New Roman" panose="02020603050405020304" pitchFamily="18" charset="0"/>
              </a:rPr>
              <a:t>PreserVision</a:t>
            </a:r>
            <a:r>
              <a:rPr lang="en-US" sz="2800" dirty="0">
                <a:latin typeface="+mj-lt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FB62BF-B627-4197-8A0A-AF25B9290C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83886" y="4776240"/>
            <a:ext cx="7567772" cy="461665"/>
          </a:xfrm>
        </p:spPr>
        <p:txBody>
          <a:bodyPr/>
          <a:lstStyle/>
          <a:p>
            <a:pPr>
              <a:buNone/>
            </a:pPr>
            <a:r>
              <a:rPr lang="en-US" sz="2400" dirty="0"/>
              <a:t>April 3</a:t>
            </a:r>
            <a:r>
              <a:rPr lang="en-US" sz="2400" baseline="30000" dirty="0"/>
              <a:t>rd</a:t>
            </a:r>
            <a:r>
              <a:rPr lang="en-US" sz="2400" dirty="0"/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8006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11ED032-216F-389E-ED81-4E6BE5FE5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540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995032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3A193-0B91-47E6-85D5-4A3696E8F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ints Covered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F77BA9-1B9B-BC37-9DDA-46EDA0156113}"/>
              </a:ext>
            </a:extLst>
          </p:cNvPr>
          <p:cNvGrpSpPr/>
          <p:nvPr/>
        </p:nvGrpSpPr>
        <p:grpSpPr>
          <a:xfrm>
            <a:off x="720797" y="1050052"/>
            <a:ext cx="565193" cy="591317"/>
            <a:chOff x="720797" y="1211977"/>
            <a:chExt cx="709371" cy="6962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C40A2E4-C279-40BF-512B-A08B7D5345F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F92A6D3-F007-4131-D5C5-E0C03F2F2CE7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1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sp>
        <p:nvSpPr>
          <p:cNvPr id="16" name="Subtitle 2">
            <a:extLst>
              <a:ext uri="{FF2B5EF4-FFF2-40B4-BE49-F238E27FC236}">
                <a16:creationId xmlns:a16="http://schemas.microsoft.com/office/drawing/2014/main" id="{19093E18-E16A-B83C-FCB3-6DA49E753AC2}"/>
              </a:ext>
            </a:extLst>
          </p:cNvPr>
          <p:cNvSpPr txBox="1">
            <a:spLocks/>
          </p:cNvSpPr>
          <p:nvPr/>
        </p:nvSpPr>
        <p:spPr>
          <a:xfrm>
            <a:off x="1568549" y="1850432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kern="1200" dirty="0">
                <a:latin typeface="Calibri" panose="020F0502020204030204" pitchFamily="34" charset="0"/>
                <a:cs typeface="Calibri" panose="020F0502020204030204" pitchFamily="34" charset="0"/>
              </a:rPr>
              <a:t>Create Local copy of Testing fil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EE6EA7E-E600-4701-069D-B1420287DB50}"/>
              </a:ext>
            </a:extLst>
          </p:cNvPr>
          <p:cNvGrpSpPr/>
          <p:nvPr/>
        </p:nvGrpSpPr>
        <p:grpSpPr>
          <a:xfrm>
            <a:off x="720797" y="1839899"/>
            <a:ext cx="565193" cy="591317"/>
            <a:chOff x="720797" y="1211977"/>
            <a:chExt cx="709371" cy="69626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B23B25B-BD7F-BDF6-F7F1-E67F5B1265BF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F4C7724-3A86-B9D4-77F3-A62CC2B706E0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2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BB5C982-67D5-5883-6276-D491E0EBB7BA}"/>
              </a:ext>
            </a:extLst>
          </p:cNvPr>
          <p:cNvGrpSpPr/>
          <p:nvPr/>
        </p:nvGrpSpPr>
        <p:grpSpPr>
          <a:xfrm>
            <a:off x="702545" y="2634483"/>
            <a:ext cx="565193" cy="591317"/>
            <a:chOff x="720797" y="1211977"/>
            <a:chExt cx="709371" cy="69626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663D2B1-89DC-4D36-6572-2D22CD0C6F7C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8AA49D6-8DCF-09C8-DF71-EFE6A34B0A04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3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37EF975-2872-AFD7-9882-DEC063E2BCC0}"/>
              </a:ext>
            </a:extLst>
          </p:cNvPr>
          <p:cNvGrpSpPr/>
          <p:nvPr/>
        </p:nvGrpSpPr>
        <p:grpSpPr>
          <a:xfrm>
            <a:off x="720797" y="3422624"/>
            <a:ext cx="565193" cy="591317"/>
            <a:chOff x="720797" y="1211977"/>
            <a:chExt cx="709371" cy="69626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913E588-2FA1-01F4-CBD9-0C6E94ECC966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2CEA0B7-8AC2-50E3-0C81-958608349AAB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4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CF16B88-6306-A435-3125-BBB1F082E03D}"/>
              </a:ext>
            </a:extLst>
          </p:cNvPr>
          <p:cNvGrpSpPr/>
          <p:nvPr/>
        </p:nvGrpSpPr>
        <p:grpSpPr>
          <a:xfrm>
            <a:off x="720797" y="4118804"/>
            <a:ext cx="565193" cy="591317"/>
            <a:chOff x="720797" y="1211977"/>
            <a:chExt cx="709371" cy="69626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36B4772-704C-7F29-2FA9-7F79A4B58848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5114086-4260-9C6D-6FA1-04475C739A0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5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61170E6-21B4-3F8E-E77A-5548EE79410B}"/>
              </a:ext>
            </a:extLst>
          </p:cNvPr>
          <p:cNvGrpSpPr/>
          <p:nvPr/>
        </p:nvGrpSpPr>
        <p:grpSpPr>
          <a:xfrm>
            <a:off x="731038" y="4906945"/>
            <a:ext cx="565193" cy="591317"/>
            <a:chOff x="720797" y="1211977"/>
            <a:chExt cx="709371" cy="69626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F1A599D8-26FC-5E64-B259-99A0EF320505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43A6506-0B78-DB85-881A-17F0E9AF9B35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6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sp>
        <p:nvSpPr>
          <p:cNvPr id="44" name="Subtitle 2">
            <a:extLst>
              <a:ext uri="{FF2B5EF4-FFF2-40B4-BE49-F238E27FC236}">
                <a16:creationId xmlns:a16="http://schemas.microsoft.com/office/drawing/2014/main" id="{D365154E-0A5E-B06E-F11A-AE7AAE1C3B0A}"/>
              </a:ext>
            </a:extLst>
          </p:cNvPr>
          <p:cNvSpPr txBox="1">
            <a:spLocks/>
          </p:cNvSpPr>
          <p:nvPr/>
        </p:nvSpPr>
        <p:spPr>
          <a:xfrm>
            <a:off x="1597041" y="4165385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dirty="0">
                <a:latin typeface="Calibri" panose="020F0502020204030204" pitchFamily="34" charset="0"/>
                <a:cs typeface="Calibri" panose="020F0502020204030204" pitchFamily="34" charset="0"/>
              </a:rPr>
              <a:t>Record Observations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C6AB38B-A092-D440-F7F5-42CF893F0BA7}"/>
              </a:ext>
            </a:extLst>
          </p:cNvPr>
          <p:cNvSpPr txBox="1">
            <a:spLocks/>
          </p:cNvSpPr>
          <p:nvPr/>
        </p:nvSpPr>
        <p:spPr>
          <a:xfrm>
            <a:off x="1568551" y="3429395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dirty="0">
                <a:latin typeface="Calibri" panose="020F0502020204030204" pitchFamily="34" charset="0"/>
                <a:cs typeface="Calibri" panose="020F0502020204030204" pitchFamily="34" charset="0"/>
              </a:rPr>
              <a:t>User Testing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42D8E35B-A4F0-4588-4E24-E93F911445CE}"/>
              </a:ext>
            </a:extLst>
          </p:cNvPr>
          <p:cNvSpPr txBox="1">
            <a:spLocks/>
          </p:cNvSpPr>
          <p:nvPr/>
        </p:nvSpPr>
        <p:spPr>
          <a:xfrm>
            <a:off x="1568549" y="2624133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dirty="0">
                <a:latin typeface="Calibri" panose="020F0502020204030204" pitchFamily="34" charset="0"/>
                <a:cs typeface="Calibri" panose="020F0502020204030204" pitchFamily="34" charset="0"/>
              </a:rPr>
              <a:t>Rename the File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B83CDC56-9EC2-AB1A-C00C-6E99836E8BA6}"/>
              </a:ext>
            </a:extLst>
          </p:cNvPr>
          <p:cNvSpPr txBox="1">
            <a:spLocks/>
          </p:cNvSpPr>
          <p:nvPr/>
        </p:nvSpPr>
        <p:spPr>
          <a:xfrm>
            <a:off x="1597040" y="5001764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dirty="0">
                <a:latin typeface="Calibri" panose="020F0502020204030204" pitchFamily="34" charset="0"/>
                <a:cs typeface="Calibri" panose="020F0502020204030204" pitchFamily="34" charset="0"/>
              </a:rPr>
              <a:t>Go through test scenarios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7E41311B-3497-2CC1-B2BE-3D7D263880F0}"/>
              </a:ext>
            </a:extLst>
          </p:cNvPr>
          <p:cNvSpPr txBox="1">
            <a:spLocks/>
          </p:cNvSpPr>
          <p:nvPr/>
        </p:nvSpPr>
        <p:spPr>
          <a:xfrm>
            <a:off x="1568551" y="1097843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s to follo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CA0E314-6D46-63CD-5B72-FD62048B947C}"/>
              </a:ext>
            </a:extLst>
          </p:cNvPr>
          <p:cNvGrpSpPr/>
          <p:nvPr/>
        </p:nvGrpSpPr>
        <p:grpSpPr>
          <a:xfrm>
            <a:off x="720797" y="5680030"/>
            <a:ext cx="565193" cy="591317"/>
            <a:chOff x="720797" y="1211977"/>
            <a:chExt cx="709371" cy="69626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F7C1A72-2555-44CB-1661-A18D36E46A14}"/>
                </a:ext>
              </a:extLst>
            </p:cNvPr>
            <p:cNvSpPr/>
            <p:nvPr/>
          </p:nvSpPr>
          <p:spPr>
            <a:xfrm>
              <a:off x="720797" y="1211977"/>
              <a:ext cx="709371" cy="6962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8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7586607-09C8-9D4A-F6A9-E0589FF56A8F}"/>
                </a:ext>
              </a:extLst>
            </p:cNvPr>
            <p:cNvSpPr txBox="1"/>
            <p:nvPr/>
          </p:nvSpPr>
          <p:spPr>
            <a:xfrm>
              <a:off x="859178" y="1279142"/>
              <a:ext cx="477785" cy="61607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7</a:t>
              </a:r>
              <a:endPara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League Spartan" charset="0"/>
                <a:cs typeface="Calibri" panose="020F0502020204030204" pitchFamily="34" charset="0"/>
              </a:endParaRPr>
            </a:p>
          </p:txBody>
        </p:sp>
      </p:grpSp>
      <p:sp>
        <p:nvSpPr>
          <p:cNvPr id="6" name="Subtitle 2">
            <a:extLst>
              <a:ext uri="{FF2B5EF4-FFF2-40B4-BE49-F238E27FC236}">
                <a16:creationId xmlns:a16="http://schemas.microsoft.com/office/drawing/2014/main" id="{C3193135-562B-F62E-06EE-6AE37BE3BEB3}"/>
              </a:ext>
            </a:extLst>
          </p:cNvPr>
          <p:cNvSpPr txBox="1">
            <a:spLocks/>
          </p:cNvSpPr>
          <p:nvPr/>
        </p:nvSpPr>
        <p:spPr>
          <a:xfrm>
            <a:off x="1586799" y="5774849"/>
            <a:ext cx="7101912" cy="458887"/>
          </a:xfrm>
          <a:prstGeom prst="rect">
            <a:avLst/>
          </a:prstGeom>
        </p:spPr>
        <p:txBody>
          <a:bodyPr vert="horz" wrap="square" lIns="44810" tIns="22405" rIns="44810" bIns="22405" rtlCol="0" anchor="t">
            <a:spAutoFit/>
          </a:bodyPr>
          <a:lstStyle>
            <a:defPPr>
              <a:defRPr lang="en-US"/>
            </a:defPPr>
            <a:lvl1pPr marL="0" indent="0" defTabSz="1087636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b="1">
                <a:latin typeface="+mj-lt"/>
                <a:cs typeface="Open Sans Light"/>
              </a:defRPr>
            </a:lvl1pPr>
            <a:lvl2pPr marL="108763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IN" sz="2400" dirty="0">
                <a:latin typeface="Calibri" panose="020F0502020204030204" pitchFamily="34" charset="0"/>
                <a:cs typeface="Calibri" panose="020F0502020204030204" pitchFamily="34" charset="0"/>
              </a:rPr>
              <a:t>Save to folder</a:t>
            </a:r>
          </a:p>
        </p:txBody>
      </p:sp>
    </p:spTree>
    <p:extLst>
      <p:ext uri="{BB962C8B-B14F-4D97-AF65-F5344CB8AC3E}">
        <p14:creationId xmlns:p14="http://schemas.microsoft.com/office/powerpoint/2010/main" val="182048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8ED64B-B375-2C9A-1E61-52C1D7C83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b" anchorCtr="0">
            <a:noAutofit/>
          </a:bodyPr>
          <a:lstStyle/>
          <a:p>
            <a:r>
              <a:rPr lang="en-IN" sz="4000" b="1" dirty="0">
                <a:solidFill>
                  <a:schemeClr val="bg1"/>
                </a:solidFill>
              </a:rPr>
              <a:t>Steps to follow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A81331A-521E-D883-8A38-88328BF612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3327419"/>
              </p:ext>
            </p:extLst>
          </p:nvPr>
        </p:nvGraphicFramePr>
        <p:xfrm>
          <a:off x="1202928" y="1200413"/>
          <a:ext cx="9543256" cy="49813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408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Create Local copy of Testing fi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703" y="1228724"/>
            <a:ext cx="3692322" cy="4819651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IN" sz="1800" dirty="0">
                <a:solidFill>
                  <a:schemeClr val="tx1"/>
                </a:solidFill>
              </a:rPr>
              <a:t>Click here to go to </a:t>
            </a:r>
            <a:r>
              <a:rPr lang="en-US" sz="1800" dirty="0">
                <a:solidFill>
                  <a:schemeClr val="tx1"/>
                </a:solidFill>
                <a:hlinkClick r:id="rId2"/>
              </a:rPr>
              <a:t>330 - Consumer Shopify eCommerce &amp; Fulfillment - UAT Execution - All Documents (sharepoint.com)</a:t>
            </a:r>
            <a:endParaRPr lang="en-IN" sz="1800" dirty="0">
              <a:solidFill>
                <a:schemeClr val="tx1"/>
              </a:solidFill>
            </a:endParaRPr>
          </a:p>
          <a:p>
            <a:pPr marL="228600" indent="-228600">
              <a:buClrTx/>
              <a:buFont typeface="+mj-lt"/>
              <a:buAutoNum type="arabicPeriod"/>
            </a:pPr>
            <a:endParaRPr lang="en-US" sz="1800" dirty="0">
              <a:solidFill>
                <a:schemeClr val="tx1"/>
              </a:solidFill>
            </a:endParaRP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Select the UAT file as per your Brand name for which you will be executing the User Testing.</a:t>
            </a:r>
          </a:p>
          <a:p>
            <a:pPr lvl="1" indent="0">
              <a:buClrTx/>
              <a:buNone/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E.g.: If you are testing for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</a:rPr>
              <a:t>PreserVision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, then copy the "UAT User Testing -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</a:rPr>
              <a:t>PreserVision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 - XX.xlsx" file to your local machine.</a:t>
            </a:r>
          </a:p>
          <a:p>
            <a:pPr marL="228600" indent="-228600">
              <a:buClrTx/>
              <a:buFont typeface="+mj-lt"/>
              <a:buAutoNum type="arabicPeriod"/>
            </a:pPr>
            <a:endParaRPr lang="en-US" sz="1800" dirty="0">
              <a:solidFill>
                <a:schemeClr val="tx1"/>
              </a:solidFill>
            </a:endParaRP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Make a local copy of the sam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CC72C1-58DF-03DC-AE25-1F086C5C6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12" r="4100" b="5599"/>
          <a:stretch/>
        </p:blipFill>
        <p:spPr>
          <a:xfrm>
            <a:off x="4155283" y="1076908"/>
            <a:ext cx="7574755" cy="49714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1CEEEB7-C838-AD59-649D-D42A97FC4955}"/>
              </a:ext>
            </a:extLst>
          </p:cNvPr>
          <p:cNvSpPr/>
          <p:nvPr/>
        </p:nvSpPr>
        <p:spPr>
          <a:xfrm>
            <a:off x="8258175" y="5353050"/>
            <a:ext cx="3373235" cy="5193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Create local copy of testing file as per brand. (e.g. </a:t>
            </a:r>
            <a:r>
              <a:rPr lang="en-IN" sz="1800" dirty="0" err="1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PreserVision</a:t>
            </a:r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)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670150-12E4-CDF1-73FC-9CA1A11CB753}"/>
              </a:ext>
            </a:extLst>
          </p:cNvPr>
          <p:cNvSpPr/>
          <p:nvPr/>
        </p:nvSpPr>
        <p:spPr>
          <a:xfrm>
            <a:off x="5413116" y="5353050"/>
            <a:ext cx="2845060" cy="495299"/>
          </a:xfrm>
          <a:custGeom>
            <a:avLst/>
            <a:gdLst>
              <a:gd name="connsiteX0" fmla="*/ 0 w 2845060"/>
              <a:gd name="connsiteY0" fmla="*/ 247650 h 495299"/>
              <a:gd name="connsiteX1" fmla="*/ 1422530 w 2845060"/>
              <a:gd name="connsiteY1" fmla="*/ 0 h 495299"/>
              <a:gd name="connsiteX2" fmla="*/ 2845060 w 2845060"/>
              <a:gd name="connsiteY2" fmla="*/ 247650 h 495299"/>
              <a:gd name="connsiteX3" fmla="*/ 1422530 w 2845060"/>
              <a:gd name="connsiteY3" fmla="*/ 495300 h 495299"/>
              <a:gd name="connsiteX4" fmla="*/ 0 w 2845060"/>
              <a:gd name="connsiteY4" fmla="*/ 247650 h 495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5060" h="495299" extrusionOk="0">
                <a:moveTo>
                  <a:pt x="0" y="247650"/>
                </a:moveTo>
                <a:cubicBezTo>
                  <a:pt x="-68436" y="68664"/>
                  <a:pt x="569067" y="25454"/>
                  <a:pt x="1422530" y="0"/>
                </a:cubicBezTo>
                <a:cubicBezTo>
                  <a:pt x="2221897" y="2889"/>
                  <a:pt x="2835850" y="111170"/>
                  <a:pt x="2845060" y="247650"/>
                </a:cubicBezTo>
                <a:cubicBezTo>
                  <a:pt x="2751477" y="475812"/>
                  <a:pt x="2189188" y="600233"/>
                  <a:pt x="1422530" y="495300"/>
                </a:cubicBezTo>
                <a:cubicBezTo>
                  <a:pt x="618764" y="485384"/>
                  <a:pt x="13360" y="390806"/>
                  <a:pt x="0" y="247650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0D9C6325-3A7D-DF1B-6743-083C6212DB0D}"/>
              </a:ext>
            </a:extLst>
          </p:cNvPr>
          <p:cNvSpPr/>
          <p:nvPr/>
        </p:nvSpPr>
        <p:spPr>
          <a:xfrm rot="2390527">
            <a:off x="3595953" y="4900011"/>
            <a:ext cx="1562100" cy="276225"/>
          </a:xfrm>
          <a:prstGeom prst="rightArrow">
            <a:avLst>
              <a:gd name="adj1" fmla="val 50000"/>
              <a:gd name="adj2" fmla="val 128148"/>
            </a:avLst>
          </a:prstGeom>
          <a:solidFill>
            <a:srgbClr val="009AA6"/>
          </a:solidFill>
          <a:ln w="9525" cap="rnd" cmpd="sng" algn="ctr">
            <a:solidFill>
              <a:srgbClr val="009AA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281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Rename The Fi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752" y="1076325"/>
            <a:ext cx="11340897" cy="2143125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IN" sz="1800" dirty="0">
                <a:solidFill>
                  <a:schemeClr val="tx1"/>
                </a:solidFill>
              </a:rPr>
              <a:t>After making local copy rename the file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IN" sz="1800" dirty="0">
                <a:solidFill>
                  <a:schemeClr val="tx1"/>
                </a:solidFill>
              </a:rPr>
              <a:t>Replace “XX” with your initials in the file name.</a:t>
            </a:r>
          </a:p>
          <a:p>
            <a:pPr lvl="1" indent="0">
              <a:buClrTx/>
              <a:buNone/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E.g.: If you name is “Ankita Jadhav”, then replace “XX” with “AJ”</a:t>
            </a:r>
            <a:endParaRPr lang="en-US" sz="1800" dirty="0">
              <a:solidFill>
                <a:schemeClr val="tx1"/>
              </a:solidFill>
            </a:endParaRP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Old name- UAT User Testing - </a:t>
            </a:r>
            <a:r>
              <a:rPr lang="en-US" sz="1800" dirty="0" err="1">
                <a:solidFill>
                  <a:schemeClr val="tx1"/>
                </a:solidFill>
              </a:rPr>
              <a:t>PreserVision</a:t>
            </a:r>
            <a:r>
              <a:rPr lang="en-US" sz="1800" dirty="0">
                <a:solidFill>
                  <a:schemeClr val="tx1"/>
                </a:solidFill>
              </a:rPr>
              <a:t> - </a:t>
            </a: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</a:rPr>
              <a:t>XX</a:t>
            </a:r>
            <a:r>
              <a:rPr lang="en-US" sz="1800" dirty="0">
                <a:solidFill>
                  <a:schemeClr val="tx1"/>
                </a:solidFill>
              </a:rPr>
              <a:t>.xlsx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New Name- UAT User Testing - </a:t>
            </a:r>
            <a:r>
              <a:rPr lang="en-US" sz="1800" dirty="0" err="1">
                <a:solidFill>
                  <a:schemeClr val="tx1"/>
                </a:solidFill>
              </a:rPr>
              <a:t>PreserVision</a:t>
            </a:r>
            <a:r>
              <a:rPr lang="en-US" sz="1800" dirty="0">
                <a:solidFill>
                  <a:schemeClr val="tx1"/>
                </a:solidFill>
              </a:rPr>
              <a:t> - </a:t>
            </a:r>
            <a:r>
              <a:rPr lang="en-US" sz="1800" dirty="0">
                <a:solidFill>
                  <a:schemeClr val="tx1"/>
                </a:solidFill>
                <a:highlight>
                  <a:srgbClr val="FFFF00"/>
                </a:highlight>
              </a:rPr>
              <a:t>AJ</a:t>
            </a:r>
            <a:r>
              <a:rPr lang="en-US" sz="1800" dirty="0">
                <a:solidFill>
                  <a:schemeClr val="tx1"/>
                </a:solidFill>
              </a:rPr>
              <a:t>.xls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C9DFB4-7E42-2FBB-E520-621C79E84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813" y="3080541"/>
            <a:ext cx="8493487" cy="31456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DA670150-12E4-CDF1-73FC-9CA1A11CB753}"/>
              </a:ext>
            </a:extLst>
          </p:cNvPr>
          <p:cNvSpPr/>
          <p:nvPr/>
        </p:nvSpPr>
        <p:spPr>
          <a:xfrm>
            <a:off x="5065519" y="3135799"/>
            <a:ext cx="4242560" cy="686393"/>
          </a:xfrm>
          <a:custGeom>
            <a:avLst/>
            <a:gdLst>
              <a:gd name="connsiteX0" fmla="*/ 0 w 4242560"/>
              <a:gd name="connsiteY0" fmla="*/ 343197 h 686393"/>
              <a:gd name="connsiteX1" fmla="*/ 2121280 w 4242560"/>
              <a:gd name="connsiteY1" fmla="*/ 0 h 686393"/>
              <a:gd name="connsiteX2" fmla="*/ 4242560 w 4242560"/>
              <a:gd name="connsiteY2" fmla="*/ 343197 h 686393"/>
              <a:gd name="connsiteX3" fmla="*/ 2121280 w 4242560"/>
              <a:gd name="connsiteY3" fmla="*/ 686394 h 686393"/>
              <a:gd name="connsiteX4" fmla="*/ 0 w 4242560"/>
              <a:gd name="connsiteY4" fmla="*/ 343197 h 686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42560" h="686393" extrusionOk="0">
                <a:moveTo>
                  <a:pt x="0" y="343197"/>
                </a:moveTo>
                <a:cubicBezTo>
                  <a:pt x="-187109" y="38242"/>
                  <a:pt x="781527" y="63129"/>
                  <a:pt x="2121280" y="0"/>
                </a:cubicBezTo>
                <a:cubicBezTo>
                  <a:pt x="3307810" y="3153"/>
                  <a:pt x="4213428" y="154581"/>
                  <a:pt x="4242560" y="343197"/>
                </a:cubicBezTo>
                <a:cubicBezTo>
                  <a:pt x="4138777" y="634089"/>
                  <a:pt x="3287302" y="716953"/>
                  <a:pt x="2121280" y="686394"/>
                </a:cubicBezTo>
                <a:cubicBezTo>
                  <a:pt x="918140" y="669111"/>
                  <a:pt x="35393" y="549650"/>
                  <a:pt x="0" y="343197"/>
                </a:cubicBezTo>
                <a:close/>
              </a:path>
            </a:pathLst>
          </a:custGeom>
          <a:noFill/>
          <a:ln w="38100" cmpd="thinThick">
            <a:solidFill>
              <a:srgbClr val="FF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CEEEB7-C838-AD59-649D-D42A97FC4955}"/>
              </a:ext>
            </a:extLst>
          </p:cNvPr>
          <p:cNvSpPr/>
          <p:nvPr/>
        </p:nvSpPr>
        <p:spPr>
          <a:xfrm>
            <a:off x="8121699" y="2735257"/>
            <a:ext cx="2827775" cy="60326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Renaming the File</a:t>
            </a:r>
          </a:p>
        </p:txBody>
      </p:sp>
    </p:spTree>
    <p:extLst>
      <p:ext uri="{BB962C8B-B14F-4D97-AF65-F5344CB8AC3E}">
        <p14:creationId xmlns:p14="http://schemas.microsoft.com/office/powerpoint/2010/main" val="46050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D629596-33E2-98A0-C4EF-23EBA52E32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6" y="2612571"/>
            <a:ext cx="11595998" cy="35474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User Test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703" y="1000708"/>
            <a:ext cx="11502822" cy="889969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Each file has the brand URL written on the top that you have to click to open the Staging site where you will carry out the User Testing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Each file has different columns and set of columns have different User Testing Scenarios mentioned in the column C (Heading - Section) and Column D (Heading Scenario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CEEEB7-C838-AD59-649D-D42A97FC4955}"/>
              </a:ext>
            </a:extLst>
          </p:cNvPr>
          <p:cNvSpPr/>
          <p:nvPr/>
        </p:nvSpPr>
        <p:spPr>
          <a:xfrm>
            <a:off x="6479635" y="3022351"/>
            <a:ext cx="2207166" cy="596869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Column headers with testing scenario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670150-12E4-CDF1-73FC-9CA1A11CB753}"/>
              </a:ext>
            </a:extLst>
          </p:cNvPr>
          <p:cNvSpPr/>
          <p:nvPr/>
        </p:nvSpPr>
        <p:spPr>
          <a:xfrm>
            <a:off x="2383222" y="2716342"/>
            <a:ext cx="2991005" cy="378921"/>
          </a:xfrm>
          <a:custGeom>
            <a:avLst/>
            <a:gdLst>
              <a:gd name="connsiteX0" fmla="*/ 0 w 2991005"/>
              <a:gd name="connsiteY0" fmla="*/ 189461 h 378921"/>
              <a:gd name="connsiteX1" fmla="*/ 1495503 w 2991005"/>
              <a:gd name="connsiteY1" fmla="*/ 0 h 378921"/>
              <a:gd name="connsiteX2" fmla="*/ 2991006 w 2991005"/>
              <a:gd name="connsiteY2" fmla="*/ 189461 h 378921"/>
              <a:gd name="connsiteX3" fmla="*/ 1495503 w 2991005"/>
              <a:gd name="connsiteY3" fmla="*/ 378922 h 378921"/>
              <a:gd name="connsiteX4" fmla="*/ 0 w 2991005"/>
              <a:gd name="connsiteY4" fmla="*/ 189461 h 378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91005" h="378921" extrusionOk="0">
                <a:moveTo>
                  <a:pt x="0" y="189461"/>
                </a:moveTo>
                <a:cubicBezTo>
                  <a:pt x="-99327" y="23558"/>
                  <a:pt x="565919" y="38898"/>
                  <a:pt x="1495503" y="0"/>
                </a:cubicBezTo>
                <a:cubicBezTo>
                  <a:pt x="2327230" y="1218"/>
                  <a:pt x="2978480" y="85223"/>
                  <a:pt x="2991006" y="189461"/>
                </a:cubicBezTo>
                <a:cubicBezTo>
                  <a:pt x="2950806" y="333355"/>
                  <a:pt x="2296970" y="514212"/>
                  <a:pt x="1495503" y="378922"/>
                </a:cubicBezTo>
                <a:cubicBezTo>
                  <a:pt x="654443" y="370652"/>
                  <a:pt x="13851" y="300715"/>
                  <a:pt x="0" y="189461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D5A83FE-5D77-5F32-F7D6-940C7F47745A}"/>
              </a:ext>
            </a:extLst>
          </p:cNvPr>
          <p:cNvSpPr/>
          <p:nvPr/>
        </p:nvSpPr>
        <p:spPr>
          <a:xfrm>
            <a:off x="2983297" y="3578586"/>
            <a:ext cx="4093777" cy="302793"/>
          </a:xfrm>
          <a:custGeom>
            <a:avLst/>
            <a:gdLst>
              <a:gd name="connsiteX0" fmla="*/ 0 w 4093777"/>
              <a:gd name="connsiteY0" fmla="*/ 151397 h 302793"/>
              <a:gd name="connsiteX1" fmla="*/ 2046889 w 4093777"/>
              <a:gd name="connsiteY1" fmla="*/ 0 h 302793"/>
              <a:gd name="connsiteX2" fmla="*/ 4093778 w 4093777"/>
              <a:gd name="connsiteY2" fmla="*/ 151397 h 302793"/>
              <a:gd name="connsiteX3" fmla="*/ 2046889 w 4093777"/>
              <a:gd name="connsiteY3" fmla="*/ 302794 h 302793"/>
              <a:gd name="connsiteX4" fmla="*/ 0 w 4093777"/>
              <a:gd name="connsiteY4" fmla="*/ 151397 h 30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3777" h="302793" extrusionOk="0">
                <a:moveTo>
                  <a:pt x="0" y="151397"/>
                </a:moveTo>
                <a:cubicBezTo>
                  <a:pt x="-30091" y="49222"/>
                  <a:pt x="894818" y="8109"/>
                  <a:pt x="2046889" y="0"/>
                </a:cubicBezTo>
                <a:cubicBezTo>
                  <a:pt x="3185846" y="1788"/>
                  <a:pt x="4073352" y="68432"/>
                  <a:pt x="4093778" y="151397"/>
                </a:cubicBezTo>
                <a:cubicBezTo>
                  <a:pt x="3976562" y="349479"/>
                  <a:pt x="3157762" y="411092"/>
                  <a:pt x="2046889" y="302794"/>
                </a:cubicBezTo>
                <a:cubicBezTo>
                  <a:pt x="905981" y="297081"/>
                  <a:pt x="16379" y="242837"/>
                  <a:pt x="0" y="151397"/>
                </a:cubicBezTo>
                <a:close/>
              </a:path>
            </a:pathLst>
          </a:custGeom>
          <a:noFill/>
          <a:ln w="38100" cmpd="thinThick">
            <a:solidFill>
              <a:srgbClr val="C0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7E5B9E5-BD99-08E5-7886-9F5EA2D22B02}"/>
              </a:ext>
            </a:extLst>
          </p:cNvPr>
          <p:cNvSpPr/>
          <p:nvPr/>
        </p:nvSpPr>
        <p:spPr>
          <a:xfrm>
            <a:off x="4494857" y="2446912"/>
            <a:ext cx="2582217" cy="302793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Staging URL for testing</a:t>
            </a:r>
          </a:p>
        </p:txBody>
      </p:sp>
    </p:spTree>
    <p:extLst>
      <p:ext uri="{BB962C8B-B14F-4D97-AF65-F5344CB8AC3E}">
        <p14:creationId xmlns:p14="http://schemas.microsoft.com/office/powerpoint/2010/main" val="332774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D6D35F1-3C38-D5F3-EB5C-494B270F5F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579"/>
          <a:stretch/>
        </p:blipFill>
        <p:spPr>
          <a:xfrm>
            <a:off x="138059" y="3974148"/>
            <a:ext cx="11606266" cy="20361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703" y="1305508"/>
            <a:ext cx="11426622" cy="217111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Column D (Heading - Test Case) lists down the steps that you would like to check/test and record your observations, if any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As per your observations in regards of column D, select "Pass“/ “Fail” from the dropdown in the column F (Heading - Pass / Fail)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dirty="0">
                <a:solidFill>
                  <a:schemeClr val="tx1"/>
                </a:solidFill>
              </a:rPr>
              <a:t>Add testing date as (MM/DD/YYYY) and tester comment if any as shown in image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1800" b="1" dirty="0">
                <a:solidFill>
                  <a:schemeClr val="tx1"/>
                </a:solidFill>
              </a:rPr>
              <a:t>Note- Observations in image are only for education purpose and not actual resul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Record observation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A670150-12E4-CDF1-73FC-9CA1A11CB753}"/>
              </a:ext>
            </a:extLst>
          </p:cNvPr>
          <p:cNvSpPr/>
          <p:nvPr/>
        </p:nvSpPr>
        <p:spPr>
          <a:xfrm>
            <a:off x="7064487" y="3991968"/>
            <a:ext cx="3353221" cy="1199569"/>
          </a:xfrm>
          <a:custGeom>
            <a:avLst/>
            <a:gdLst>
              <a:gd name="connsiteX0" fmla="*/ 0 w 3177355"/>
              <a:gd name="connsiteY0" fmla="*/ 555334 h 1110667"/>
              <a:gd name="connsiteX1" fmla="*/ 1588678 w 3177355"/>
              <a:gd name="connsiteY1" fmla="*/ 0 h 1110667"/>
              <a:gd name="connsiteX2" fmla="*/ 3177356 w 3177355"/>
              <a:gd name="connsiteY2" fmla="*/ 555334 h 1110667"/>
              <a:gd name="connsiteX3" fmla="*/ 1588678 w 3177355"/>
              <a:gd name="connsiteY3" fmla="*/ 1110668 h 1110667"/>
              <a:gd name="connsiteX4" fmla="*/ 0 w 3177355"/>
              <a:gd name="connsiteY4" fmla="*/ 555334 h 111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7355" h="1110667" extrusionOk="0">
                <a:moveTo>
                  <a:pt x="0" y="555334"/>
                </a:moveTo>
                <a:cubicBezTo>
                  <a:pt x="-31015" y="229501"/>
                  <a:pt x="646515" y="24306"/>
                  <a:pt x="1588678" y="0"/>
                </a:cubicBezTo>
                <a:cubicBezTo>
                  <a:pt x="2521274" y="11619"/>
                  <a:pt x="3123726" y="250337"/>
                  <a:pt x="3177356" y="555334"/>
                </a:cubicBezTo>
                <a:cubicBezTo>
                  <a:pt x="3062591" y="974110"/>
                  <a:pt x="2455768" y="1167670"/>
                  <a:pt x="1588678" y="1110668"/>
                </a:cubicBezTo>
                <a:cubicBezTo>
                  <a:pt x="661601" y="1083490"/>
                  <a:pt x="56168" y="888874"/>
                  <a:pt x="0" y="555334"/>
                </a:cubicBezTo>
                <a:close/>
              </a:path>
            </a:pathLst>
          </a:custGeom>
          <a:noFill/>
          <a:ln w="38100" cmpd="thinThick">
            <a:solidFill>
              <a:srgbClr val="FF0000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prstGeom prst="ellipse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0000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CEEEB7-C838-AD59-649D-D42A97FC4955}"/>
              </a:ext>
            </a:extLst>
          </p:cNvPr>
          <p:cNvSpPr/>
          <p:nvPr/>
        </p:nvSpPr>
        <p:spPr>
          <a:xfrm>
            <a:off x="7365812" y="4886931"/>
            <a:ext cx="3451395" cy="971548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8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Recording the observations as “Pass/Fail” with date and comment if any.</a:t>
            </a:r>
          </a:p>
        </p:txBody>
      </p:sp>
    </p:spTree>
    <p:extLst>
      <p:ext uri="{BB962C8B-B14F-4D97-AF65-F5344CB8AC3E}">
        <p14:creationId xmlns:p14="http://schemas.microsoft.com/office/powerpoint/2010/main" val="103828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703" y="1267407"/>
            <a:ext cx="11426622" cy="4838117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Go through as many test scenarios as possible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Select correct option in column F (Heading- “Pass”/ “Fail”)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Record date of testing in format (MM/DD/YYYY)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Mention comment in case of “Fail” case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Mention comment in case of “Pass” if necessary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Go Through Test Scenarios</a:t>
            </a:r>
          </a:p>
        </p:txBody>
      </p:sp>
    </p:spTree>
    <p:extLst>
      <p:ext uri="{BB962C8B-B14F-4D97-AF65-F5344CB8AC3E}">
        <p14:creationId xmlns:p14="http://schemas.microsoft.com/office/powerpoint/2010/main" val="149114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D44F04-BE07-0153-0DAB-4EEFE88CAA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703" y="1267407"/>
            <a:ext cx="11426622" cy="2371143"/>
          </a:xfrm>
        </p:spPr>
        <p:txBody>
          <a:bodyPr vert="horz" lIns="0" tIns="0" rIns="0" bIns="0" rtlCol="0">
            <a:noAutofit/>
          </a:bodyPr>
          <a:lstStyle/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Re-check the file is saved as per requirements mentioned in slide “Rename the file” (Slide #4).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E.g.: UAT User Testing - </a:t>
            </a:r>
            <a:r>
              <a:rPr lang="en-US" sz="2000" dirty="0" err="1">
                <a:solidFill>
                  <a:schemeClr val="tx1"/>
                </a:solidFill>
              </a:rPr>
              <a:t>PreserVision</a:t>
            </a:r>
            <a:r>
              <a:rPr lang="en-US" sz="2000" dirty="0">
                <a:solidFill>
                  <a:schemeClr val="tx1"/>
                </a:solidFill>
              </a:rPr>
              <a:t> - AJ.xlsx</a:t>
            </a:r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Upload the updated testing file to </a:t>
            </a:r>
            <a:r>
              <a:rPr lang="en-US" sz="2000" dirty="0">
                <a:hlinkClick r:id="rId2"/>
              </a:rPr>
              <a:t>330 - Consumer Shopify eCommerce &amp; Fulfillment - UAT Execution - All Documents (sharepoint.com)</a:t>
            </a:r>
            <a:endParaRPr lang="en-US" sz="2000" dirty="0"/>
          </a:p>
          <a:p>
            <a:pPr marL="228600" indent="-228600">
              <a:buClrTx/>
              <a:buFont typeface="+mj-lt"/>
              <a:buAutoNum type="arabicPeriod"/>
            </a:pPr>
            <a:r>
              <a:rPr lang="en-US" sz="2000" dirty="0"/>
              <a:t>Notify Robert that you have finished your testing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F989B3C-574C-B479-A3AE-3F36239A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15" y="259627"/>
            <a:ext cx="9893284" cy="590931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100000"/>
              </a:lnSpc>
            </a:pPr>
            <a:r>
              <a:rPr lang="en-IN" sz="4000" b="1" kern="120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</a:rPr>
              <a:t>Save file to folder</a:t>
            </a:r>
          </a:p>
        </p:txBody>
      </p:sp>
    </p:spTree>
    <p:extLst>
      <p:ext uri="{BB962C8B-B14F-4D97-AF65-F5344CB8AC3E}">
        <p14:creationId xmlns:p14="http://schemas.microsoft.com/office/powerpoint/2010/main" val="162090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ISNEWSLIDENUMBER" val="False"/>
  <p:tag name="PREVIOUSNAME" val="C:\Users\Bryan Reinholt\Desktop\Valeant\Q1 2016_DRAFT v41.pptx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d&lt;/m_strFormatTime&gt;&lt;/m_precDefaultDay&gt;&lt;m_mruColor&gt;&lt;m_vecMRU length=&quot;6&quot;&gt;&lt;elem m_fUsage=&quot;2.43500952519000040000E+000&quot;&gt;&lt;m_msothmcolidx val=&quot;0&quot;/&gt;&lt;m_rgb r=&quot;ff&quot; g=&quot;66&quot; b=&quot;0&quot;/&gt;&lt;m_ppcolschidx tagver0=&quot;23004&quot; tagname0=&quot;m_ppcolschidxUNRECOGNIZED&quot; val=&quot;0&quot;/&gt;&lt;m_nBrightness val=&quot;0&quot;/&gt;&lt;/elem&gt;&lt;elem m_fUsage=&quot;2.39925410999999980000E+000&quot;&gt;&lt;m_msothmcolidx val=&quot;0&quot;/&gt;&lt;m_rgb r=&quot;0&quot; g=&quot;0&quot; b=&quot;0&quot;/&gt;&lt;m_ppcolschidx tagver0=&quot;23004&quot; tagname0=&quot;m_ppcolschidxUNRECOGNIZED&quot; val=&quot;0&quot;/&gt;&lt;m_nBrightness val=&quot;0&quot;/&gt;&lt;/elem&gt;&lt;elem m_fUsage=&quot;1.9349061314434743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9.31576654590569380000E-001&quot;&gt;&lt;m_msothmcolidx val=&quot;0&quot;/&gt;&lt;m_rgb r=&quot;1f&quot; g=&quot;7e&quot; b=&quot;37&quot;/&gt;&lt;m_ppcolschidx tagver0=&quot;23004&quot; tagname0=&quot;m_ppcolschidxUNRECOGNIZED&quot; val=&quot;0&quot;/&gt;&lt;m_nBrightness val=&quot;0&quot;/&gt;&lt;/elem&gt;&lt;elem m_fUsage=&quot;6.73622687460833310000E-001&quot;&gt;&lt;m_msothmcolidx val=&quot;0&quot;/&gt;&lt;m_rgb r=&quot;b7&quot; g=&quot;b9&quot; b=&quot;b5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ff&quot; g=&quot;11&quot; b=&quot;1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9AA6"/>
      </a:accent1>
      <a:accent2>
        <a:srgbClr val="52B3D2"/>
      </a:accent2>
      <a:accent3>
        <a:srgbClr val="72CE9B"/>
      </a:accent3>
      <a:accent4>
        <a:srgbClr val="5BC6E8"/>
      </a:accent4>
      <a:accent5>
        <a:srgbClr val="969696"/>
      </a:accent5>
      <a:accent6>
        <a:srgbClr val="BCE3C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9AA6"/>
        </a:accent1>
        <a:accent2>
          <a:srgbClr val="52B3D2"/>
        </a:accent2>
        <a:accent3>
          <a:srgbClr val="72CE9B"/>
        </a:accent3>
        <a:accent4>
          <a:srgbClr val="5BC6E8"/>
        </a:accent4>
        <a:accent5>
          <a:srgbClr val="969696"/>
        </a:accent5>
        <a:accent6>
          <a:srgbClr val="BCE3C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J4817_OFF.potx" id="{9C20179A-A049-4A26-A18A-B3EE73A47446}" vid="{CFA45B3C-62F7-453A-89ED-748A91AFC06A}"/>
    </a:ext>
  </a:extLst>
</a:theme>
</file>

<file path=ppt/theme/theme4.xml><?xml version="1.0" encoding="utf-8"?>
<a:theme xmlns:a="http://schemas.openxmlformats.org/drawingml/2006/main" name="Bausch + Lomb Grid 16:9 - 16520">
  <a:themeElements>
    <a:clrScheme name="BL">
      <a:dk1>
        <a:srgbClr val="010101"/>
      </a:dk1>
      <a:lt1>
        <a:sysClr val="window" lastClr="FFFFFF"/>
      </a:lt1>
      <a:dk2>
        <a:srgbClr val="009AA6"/>
      </a:dk2>
      <a:lt2>
        <a:srgbClr val="F2F2F2"/>
      </a:lt2>
      <a:accent1>
        <a:srgbClr val="004D53"/>
      </a:accent1>
      <a:accent2>
        <a:srgbClr val="00747D"/>
      </a:accent2>
      <a:accent3>
        <a:srgbClr val="FFFF00"/>
      </a:accent3>
      <a:accent4>
        <a:srgbClr val="31F0FF"/>
      </a:accent4>
      <a:accent5>
        <a:srgbClr val="C8C8C8"/>
      </a:accent5>
      <a:accent6>
        <a:srgbClr val="72CE9B"/>
      </a:accent6>
      <a:hlink>
        <a:srgbClr val="52B3D2"/>
      </a:hlink>
      <a:folHlink>
        <a:srgbClr val="5BC6E8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AA6"/>
        </a:solidFill>
        <a:ln w="9525" cap="rnd" cmpd="sng" algn="ctr">
          <a:solidFill>
            <a:srgbClr val="009AA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01010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3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cae60e7-7955-404c-8b53-a223e58d1f59">
      <UserInfo>
        <DisplayName>Mozenter, Robert</DisplayName>
        <AccountId>12</AccountId>
        <AccountType/>
      </UserInfo>
      <UserInfo>
        <DisplayName>Potter, Cobey</DisplayName>
        <AccountId>14</AccountId>
        <AccountType/>
      </UserInfo>
      <UserInfo>
        <DisplayName>Ankita Jadhav</DisplayName>
        <AccountId>55</AccountId>
        <AccountType/>
      </UserInfo>
      <UserInfo>
        <DisplayName>Zhou, Jian</DisplayName>
        <AccountId>27</AccountId>
        <AccountType/>
      </UserInfo>
      <UserInfo>
        <DisplayName>Gollapudi, Venkata Naga Prakash</DisplayName>
        <AccountId>2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E39B51051C5C40971F383C9A24E32E" ma:contentTypeVersion="4" ma:contentTypeDescription="Create a new document." ma:contentTypeScope="" ma:versionID="ae17a32809b8a823f6f4a1caeed48627">
  <xsd:schema xmlns:xsd="http://www.w3.org/2001/XMLSchema" xmlns:xs="http://www.w3.org/2001/XMLSchema" xmlns:p="http://schemas.microsoft.com/office/2006/metadata/properties" xmlns:ns2="bbffafd3-2c2b-4a03-9a57-24df638abb48" xmlns:ns3="4cae60e7-7955-404c-8b53-a223e58d1f59" targetNamespace="http://schemas.microsoft.com/office/2006/metadata/properties" ma:root="true" ma:fieldsID="bd70da94451aaca04cb6e9acc4b58f81" ns2:_="" ns3:_="">
    <xsd:import namespace="bbffafd3-2c2b-4a03-9a57-24df638abb48"/>
    <xsd:import namespace="4cae60e7-7955-404c-8b53-a223e58d1f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ffafd3-2c2b-4a03-9a57-24df638abb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e60e7-7955-404c-8b53-a223e58d1f5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93F21D-AB3B-423D-A230-FF2D9BB18FAE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23ba6862-1a4b-4f75-a944-8603845fcf5a"/>
    <ds:schemaRef ds:uri="http://www.w3.org/XML/1998/namespace"/>
    <ds:schemaRef ds:uri="http://purl.org/dc/dcmitype/"/>
    <ds:schemaRef ds:uri="4cae60e7-7955-404c-8b53-a223e58d1f59"/>
  </ds:schemaRefs>
</ds:datastoreItem>
</file>

<file path=customXml/itemProps2.xml><?xml version="1.0" encoding="utf-8"?>
<ds:datastoreItem xmlns:ds="http://schemas.openxmlformats.org/officeDocument/2006/customXml" ds:itemID="{7E34B925-6DC8-443E-96DE-9F6094B83D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ffafd3-2c2b-4a03-9a57-24df638abb48"/>
    <ds:schemaRef ds:uri="4cae60e7-7955-404c-8b53-a223e58d1f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F8D904-75E0-42F7-90D3-FDB2FE54E6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0</TotalTime>
  <Words>578</Words>
  <Application>Microsoft Office PowerPoint</Application>
  <PresentationFormat>Custom</PresentationFormat>
  <Paragraphs>6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</vt:lpstr>
      <vt:lpstr>Georgia</vt:lpstr>
      <vt:lpstr>Helvetica</vt:lpstr>
      <vt:lpstr>Segoe UI</vt:lpstr>
      <vt:lpstr>Trebuchet MS</vt:lpstr>
      <vt:lpstr>Verdana</vt:lpstr>
      <vt:lpstr>Wingdings</vt:lpstr>
      <vt:lpstr>1_Office Theme</vt:lpstr>
      <vt:lpstr>2_Office Theme</vt:lpstr>
      <vt:lpstr>25_White</vt:lpstr>
      <vt:lpstr>Bausch + Lomb Grid 16:9 - 16520</vt:lpstr>
      <vt:lpstr>3_Office Theme</vt:lpstr>
      <vt:lpstr>think-cell Slide</vt:lpstr>
      <vt:lpstr>US Consumer eCommerce Shopify Implementation</vt:lpstr>
      <vt:lpstr>Points Covered </vt:lpstr>
      <vt:lpstr>Steps to follow</vt:lpstr>
      <vt:lpstr>Create Local copy of Testing file</vt:lpstr>
      <vt:lpstr>Rename The File</vt:lpstr>
      <vt:lpstr>User Testing</vt:lpstr>
      <vt:lpstr>Record observations</vt:lpstr>
      <vt:lpstr>Go Through Test Scenarios</vt:lpstr>
      <vt:lpstr>Save file to folder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usch Health PowerPoint Presentation Template - FINAL</dc:title>
  <dc:creator/>
  <cp:lastModifiedBy/>
  <cp:revision>94</cp:revision>
  <dcterms:created xsi:type="dcterms:W3CDTF">2016-05-27T19:28:38Z</dcterms:created>
  <dcterms:modified xsi:type="dcterms:W3CDTF">2023-04-02T13:3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E39B51051C5C40971F383C9A24E32E</vt:lpwstr>
  </property>
  <property fmtid="{D5CDD505-2E9C-101B-9397-08002B2CF9AE}" pid="3" name="Order">
    <vt:r8>4000</vt:r8>
  </property>
  <property fmtid="{D5CDD505-2E9C-101B-9397-08002B2CF9AE}" pid="4" name="Record Access Control Level">
    <vt:lpwstr/>
  </property>
  <property fmtid="{D5CDD505-2E9C-101B-9397-08002B2CF9AE}" pid="5" name="CWRMItemRecordClassification">
    <vt:lpwstr/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_SourceUrl">
    <vt:lpwstr/>
  </property>
  <property fmtid="{D5CDD505-2E9C-101B-9397-08002B2CF9AE}" pid="11" name="_SharedFileIndex">
    <vt:lpwstr/>
  </property>
  <property fmtid="{D5CDD505-2E9C-101B-9397-08002B2CF9AE}" pid="12" name="TemplateUrl">
    <vt:lpwstr/>
  </property>
  <property fmtid="{D5CDD505-2E9C-101B-9397-08002B2CF9AE}" pid="13" name="ComplianceAssetId">
    <vt:lpwstr/>
  </property>
</Properties>
</file>